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  <p:sldMasterId id="2147483696" r:id="rId4"/>
  </p:sldMasterIdLst>
  <p:notesMasterIdLst>
    <p:notesMasterId r:id="rId49"/>
  </p:notesMasterIdLst>
  <p:sldIdLst>
    <p:sldId id="1722" r:id="rId5"/>
    <p:sldId id="4642" r:id="rId6"/>
    <p:sldId id="1731" r:id="rId7"/>
    <p:sldId id="1635" r:id="rId8"/>
    <p:sldId id="2260" r:id="rId9"/>
    <p:sldId id="2261" r:id="rId10"/>
    <p:sldId id="4730" r:id="rId11"/>
    <p:sldId id="4630" r:id="rId12"/>
    <p:sldId id="4705" r:id="rId13"/>
    <p:sldId id="1726" r:id="rId14"/>
    <p:sldId id="4627" r:id="rId15"/>
    <p:sldId id="1728" r:id="rId16"/>
    <p:sldId id="4732" r:id="rId17"/>
    <p:sldId id="4733" r:id="rId18"/>
    <p:sldId id="2265" r:id="rId19"/>
    <p:sldId id="2263" r:id="rId20"/>
    <p:sldId id="4671" r:id="rId21"/>
    <p:sldId id="2272" r:id="rId22"/>
    <p:sldId id="2274" r:id="rId23"/>
    <p:sldId id="2276" r:id="rId24"/>
    <p:sldId id="4643" r:id="rId25"/>
    <p:sldId id="4735" r:id="rId26"/>
    <p:sldId id="4736" r:id="rId27"/>
    <p:sldId id="4681" r:id="rId28"/>
    <p:sldId id="4682" r:id="rId29"/>
    <p:sldId id="4683" r:id="rId30"/>
    <p:sldId id="4684" r:id="rId31"/>
    <p:sldId id="4685" r:id="rId32"/>
    <p:sldId id="4686" r:id="rId33"/>
    <p:sldId id="4687" r:id="rId34"/>
    <p:sldId id="1171" r:id="rId35"/>
    <p:sldId id="1483" r:id="rId36"/>
    <p:sldId id="2388" r:id="rId37"/>
    <p:sldId id="4688" r:id="rId38"/>
    <p:sldId id="4689" r:id="rId39"/>
    <p:sldId id="4690" r:id="rId40"/>
    <p:sldId id="4691" r:id="rId41"/>
    <p:sldId id="4692" r:id="rId42"/>
    <p:sldId id="4693" r:id="rId43"/>
    <p:sldId id="4694" r:id="rId44"/>
    <p:sldId id="4695" r:id="rId45"/>
    <p:sldId id="4589" r:id="rId46"/>
    <p:sldId id="1480" r:id="rId47"/>
    <p:sldId id="4696" r:id="rId48"/>
  </p:sldIdLst>
  <p:sldSz cx="12192000" cy="6858000"/>
  <p:notesSz cx="6858000" cy="9144000"/>
  <p:embeddedFontLst>
    <p:embeddedFont>
      <p:font typeface="Calibri" panose="020F0502020204030204" pitchFamily="34" charset="0"/>
      <p:regular r:id="rId50"/>
      <p:bold r:id="rId51"/>
      <p:italic r:id="rId52"/>
      <p:boldItalic r:id="rId53"/>
    </p:embeddedFont>
    <p:embeddedFont>
      <p:font typeface="Calibri Light" panose="020F0302020204030204" pitchFamily="34" charset="0"/>
      <p:regular r:id="rId54"/>
      <p:italic r:id="rId55"/>
    </p:embeddedFont>
  </p:embeddedFontLst>
  <p:custDataLst>
    <p:tags r:id="rId5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96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294" y="10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font" Target="fonts/font1.fntdata"/><Relationship Id="rId55" Type="http://schemas.openxmlformats.org/officeDocument/2006/relationships/font" Target="fonts/font6.fntdata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font" Target="fonts/font4.fntdata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font" Target="fonts/font2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notesMaster" Target="notesMasters/notesMaster1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font" Target="fonts/font3.fntdata"/><Relationship Id="rId6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J$1:$NQ$1</c:f>
              <c:strCache>
                <c:ptCount val="372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</c:strCache>
            </c:strRef>
          </c:cat>
          <c:val>
            <c:numRef>
              <c:f>List1!$J$2:$NQ$2</c:f>
              <c:numCache>
                <c:formatCode>General</c:formatCode>
                <c:ptCount val="372"/>
                <c:pt idx="0">
                  <c:v>2944</c:v>
                </c:pt>
                <c:pt idx="1">
                  <c:v>5611</c:v>
                </c:pt>
                <c:pt idx="2">
                  <c:v>8316</c:v>
                </c:pt>
                <c:pt idx="3">
                  <c:v>9208</c:v>
                </c:pt>
                <c:pt idx="4">
                  <c:v>9445</c:v>
                </c:pt>
                <c:pt idx="5">
                  <c:v>10606</c:v>
                </c:pt>
                <c:pt idx="6">
                  <c:v>11448</c:v>
                </c:pt>
                <c:pt idx="7">
                  <c:v>14617</c:v>
                </c:pt>
                <c:pt idx="8">
                  <c:v>18538</c:v>
                </c:pt>
                <c:pt idx="9">
                  <c:v>23466</c:v>
                </c:pt>
                <c:pt idx="10">
                  <c:v>29299</c:v>
                </c:pt>
                <c:pt idx="11">
                  <c:v>36088</c:v>
                </c:pt>
                <c:pt idx="12">
                  <c:v>37251</c:v>
                </c:pt>
                <c:pt idx="13">
                  <c:v>38208</c:v>
                </c:pt>
                <c:pt idx="14">
                  <c:v>44623</c:v>
                </c:pt>
                <c:pt idx="15">
                  <c:v>52043</c:v>
                </c:pt>
                <c:pt idx="16">
                  <c:v>58654</c:v>
                </c:pt>
                <c:pt idx="17">
                  <c:v>65636</c:v>
                </c:pt>
                <c:pt idx="18">
                  <c:v>71834</c:v>
                </c:pt>
                <c:pt idx="19">
                  <c:v>72770</c:v>
                </c:pt>
                <c:pt idx="20">
                  <c:v>73318</c:v>
                </c:pt>
                <c:pt idx="21">
                  <c:v>78007</c:v>
                </c:pt>
                <c:pt idx="22">
                  <c:v>81810</c:v>
                </c:pt>
                <c:pt idx="23">
                  <c:v>85528</c:v>
                </c:pt>
                <c:pt idx="24">
                  <c:v>88918</c:v>
                </c:pt>
                <c:pt idx="25">
                  <c:v>91810</c:v>
                </c:pt>
                <c:pt idx="26">
                  <c:v>92200</c:v>
                </c:pt>
                <c:pt idx="27">
                  <c:v>92436</c:v>
                </c:pt>
                <c:pt idx="28">
                  <c:v>94043</c:v>
                </c:pt>
                <c:pt idx="29">
                  <c:v>95810</c:v>
                </c:pt>
                <c:pt idx="30">
                  <c:v>97259</c:v>
                </c:pt>
                <c:pt idx="31">
                  <c:v>98647</c:v>
                </c:pt>
                <c:pt idx="32">
                  <c:v>99927</c:v>
                </c:pt>
                <c:pt idx="33">
                  <c:v>99998</c:v>
                </c:pt>
                <c:pt idx="34">
                  <c:v>100069</c:v>
                </c:pt>
                <c:pt idx="35">
                  <c:v>100963</c:v>
                </c:pt>
                <c:pt idx="36">
                  <c:v>101831</c:v>
                </c:pt>
                <c:pt idx="37">
                  <c:v>102648</c:v>
                </c:pt>
                <c:pt idx="38">
                  <c:v>103358</c:v>
                </c:pt>
                <c:pt idx="39">
                  <c:v>104287</c:v>
                </c:pt>
                <c:pt idx="40">
                  <c:v>104338</c:v>
                </c:pt>
                <c:pt idx="41">
                  <c:v>104389</c:v>
                </c:pt>
                <c:pt idx="42">
                  <c:v>105031</c:v>
                </c:pt>
                <c:pt idx="43">
                  <c:v>105686</c:v>
                </c:pt>
                <c:pt idx="44">
                  <c:v>106551</c:v>
                </c:pt>
                <c:pt idx="45">
                  <c:v>107606</c:v>
                </c:pt>
                <c:pt idx="46">
                  <c:v>108809</c:v>
                </c:pt>
                <c:pt idx="47">
                  <c:v>109194</c:v>
                </c:pt>
                <c:pt idx="48">
                  <c:v>109378</c:v>
                </c:pt>
                <c:pt idx="49">
                  <c:v>110702</c:v>
                </c:pt>
                <c:pt idx="50">
                  <c:v>111995</c:v>
                </c:pt>
                <c:pt idx="51">
                  <c:v>113370</c:v>
                </c:pt>
                <c:pt idx="52">
                  <c:v>114935</c:v>
                </c:pt>
                <c:pt idx="53">
                  <c:v>116793</c:v>
                </c:pt>
                <c:pt idx="54">
                  <c:v>117253</c:v>
                </c:pt>
                <c:pt idx="55">
                  <c:v>117416</c:v>
                </c:pt>
                <c:pt idx="56">
                  <c:v>119009</c:v>
                </c:pt>
                <c:pt idx="57">
                  <c:v>121308</c:v>
                </c:pt>
                <c:pt idx="58">
                  <c:v>123806</c:v>
                </c:pt>
                <c:pt idx="59">
                  <c:v>126838</c:v>
                </c:pt>
                <c:pt idx="60">
                  <c:v>129446</c:v>
                </c:pt>
                <c:pt idx="61">
                  <c:v>129755</c:v>
                </c:pt>
                <c:pt idx="62">
                  <c:v>129975</c:v>
                </c:pt>
                <c:pt idx="63">
                  <c:v>132525</c:v>
                </c:pt>
                <c:pt idx="64">
                  <c:v>135285</c:v>
                </c:pt>
                <c:pt idx="65">
                  <c:v>137952</c:v>
                </c:pt>
                <c:pt idx="66">
                  <c:v>140408</c:v>
                </c:pt>
                <c:pt idx="67">
                  <c:v>143377</c:v>
                </c:pt>
                <c:pt idx="68">
                  <c:v>144082</c:v>
                </c:pt>
                <c:pt idx="69">
                  <c:v>144595</c:v>
                </c:pt>
                <c:pt idx="70">
                  <c:v>146543</c:v>
                </c:pt>
                <c:pt idx="71">
                  <c:v>148689</c:v>
                </c:pt>
                <c:pt idx="72">
                  <c:v>150938</c:v>
                </c:pt>
                <c:pt idx="73">
                  <c:v>153941</c:v>
                </c:pt>
                <c:pt idx="74">
                  <c:v>156562</c:v>
                </c:pt>
                <c:pt idx="75">
                  <c:v>157221</c:v>
                </c:pt>
                <c:pt idx="76">
                  <c:v>157790</c:v>
                </c:pt>
                <c:pt idx="77">
                  <c:v>159379</c:v>
                </c:pt>
                <c:pt idx="78">
                  <c:v>161711</c:v>
                </c:pt>
                <c:pt idx="79">
                  <c:v>164028</c:v>
                </c:pt>
                <c:pt idx="80">
                  <c:v>166056</c:v>
                </c:pt>
                <c:pt idx="81">
                  <c:v>168320</c:v>
                </c:pt>
                <c:pt idx="82">
                  <c:v>169194</c:v>
                </c:pt>
                <c:pt idx="83">
                  <c:v>169642</c:v>
                </c:pt>
                <c:pt idx="84">
                  <c:v>170797</c:v>
                </c:pt>
                <c:pt idx="85">
                  <c:v>172037</c:v>
                </c:pt>
                <c:pt idx="86">
                  <c:v>173107</c:v>
                </c:pt>
                <c:pt idx="87">
                  <c:v>174406</c:v>
                </c:pt>
                <c:pt idx="88">
                  <c:v>175784</c:v>
                </c:pt>
                <c:pt idx="89">
                  <c:v>176159</c:v>
                </c:pt>
                <c:pt idx="90">
                  <c:v>176504</c:v>
                </c:pt>
                <c:pt idx="91">
                  <c:v>177288</c:v>
                </c:pt>
                <c:pt idx="92">
                  <c:v>178316</c:v>
                </c:pt>
                <c:pt idx="93">
                  <c:v>179440</c:v>
                </c:pt>
                <c:pt idx="94">
                  <c:v>180545</c:v>
                </c:pt>
                <c:pt idx="95">
                  <c:v>180813</c:v>
                </c:pt>
                <c:pt idx="96">
                  <c:v>180933</c:v>
                </c:pt>
                <c:pt idx="97">
                  <c:v>181049</c:v>
                </c:pt>
                <c:pt idx="98">
                  <c:v>181121</c:v>
                </c:pt>
                <c:pt idx="99">
                  <c:v>181687</c:v>
                </c:pt>
                <c:pt idx="100">
                  <c:v>182361</c:v>
                </c:pt>
                <c:pt idx="101">
                  <c:v>183609</c:v>
                </c:pt>
                <c:pt idx="102">
                  <c:v>184886</c:v>
                </c:pt>
                <c:pt idx="103">
                  <c:v>185263</c:v>
                </c:pt>
                <c:pt idx="104">
                  <c:v>185512</c:v>
                </c:pt>
                <c:pt idx="105">
                  <c:v>186454</c:v>
                </c:pt>
                <c:pt idx="106">
                  <c:v>187268</c:v>
                </c:pt>
                <c:pt idx="107">
                  <c:v>188212</c:v>
                </c:pt>
                <c:pt idx="108">
                  <c:v>189580</c:v>
                </c:pt>
                <c:pt idx="109">
                  <c:v>191129</c:v>
                </c:pt>
                <c:pt idx="110">
                  <c:v>191550</c:v>
                </c:pt>
                <c:pt idx="111">
                  <c:v>191991</c:v>
                </c:pt>
                <c:pt idx="112">
                  <c:v>193096</c:v>
                </c:pt>
                <c:pt idx="113">
                  <c:v>194145</c:v>
                </c:pt>
                <c:pt idx="114">
                  <c:v>195438</c:v>
                </c:pt>
                <c:pt idx="115">
                  <c:v>196911</c:v>
                </c:pt>
                <c:pt idx="116">
                  <c:v>198427</c:v>
                </c:pt>
                <c:pt idx="117">
                  <c:v>198868</c:v>
                </c:pt>
                <c:pt idx="118">
                  <c:v>199243</c:v>
                </c:pt>
                <c:pt idx="119">
                  <c:v>200444</c:v>
                </c:pt>
                <c:pt idx="120">
                  <c:v>201536</c:v>
                </c:pt>
                <c:pt idx="121">
                  <c:v>202928</c:v>
                </c:pt>
                <c:pt idx="122">
                  <c:v>204404</c:v>
                </c:pt>
                <c:pt idx="123">
                  <c:v>205808</c:v>
                </c:pt>
                <c:pt idx="124">
                  <c:v>206145</c:v>
                </c:pt>
                <c:pt idx="125">
                  <c:v>206484</c:v>
                </c:pt>
                <c:pt idx="126">
                  <c:v>207569</c:v>
                </c:pt>
                <c:pt idx="127">
                  <c:v>208674</c:v>
                </c:pt>
                <c:pt idx="128">
                  <c:v>209822</c:v>
                </c:pt>
                <c:pt idx="129">
                  <c:v>211017</c:v>
                </c:pt>
                <c:pt idx="130">
                  <c:v>212325</c:v>
                </c:pt>
                <c:pt idx="131">
                  <c:v>212828</c:v>
                </c:pt>
                <c:pt idx="132">
                  <c:v>213139</c:v>
                </c:pt>
                <c:pt idx="133">
                  <c:v>214113</c:v>
                </c:pt>
                <c:pt idx="134">
                  <c:v>215141</c:v>
                </c:pt>
                <c:pt idx="135">
                  <c:v>216182</c:v>
                </c:pt>
                <c:pt idx="136">
                  <c:v>217325</c:v>
                </c:pt>
                <c:pt idx="137">
                  <c:v>218330</c:v>
                </c:pt>
                <c:pt idx="138">
                  <c:v>218773</c:v>
                </c:pt>
                <c:pt idx="139">
                  <c:v>219061</c:v>
                </c:pt>
                <c:pt idx="140">
                  <c:v>219850</c:v>
                </c:pt>
                <c:pt idx="141">
                  <c:v>220733</c:v>
                </c:pt>
                <c:pt idx="142">
                  <c:v>221644</c:v>
                </c:pt>
                <c:pt idx="143">
                  <c:v>222583</c:v>
                </c:pt>
                <c:pt idx="144">
                  <c:v>223511</c:v>
                </c:pt>
                <c:pt idx="145">
                  <c:v>223865</c:v>
                </c:pt>
                <c:pt idx="146">
                  <c:v>224094</c:v>
                </c:pt>
                <c:pt idx="147">
                  <c:v>224646</c:v>
                </c:pt>
                <c:pt idx="148">
                  <c:v>225277</c:v>
                </c:pt>
                <c:pt idx="149">
                  <c:v>226133</c:v>
                </c:pt>
                <c:pt idx="150">
                  <c:v>226919</c:v>
                </c:pt>
                <c:pt idx="151">
                  <c:v>227747</c:v>
                </c:pt>
                <c:pt idx="152">
                  <c:v>228114</c:v>
                </c:pt>
                <c:pt idx="153">
                  <c:v>228406</c:v>
                </c:pt>
                <c:pt idx="154">
                  <c:v>229100</c:v>
                </c:pt>
                <c:pt idx="155">
                  <c:v>229825</c:v>
                </c:pt>
                <c:pt idx="156">
                  <c:v>230716</c:v>
                </c:pt>
                <c:pt idx="157">
                  <c:v>231556</c:v>
                </c:pt>
                <c:pt idx="158">
                  <c:v>232446</c:v>
                </c:pt>
                <c:pt idx="159">
                  <c:v>232872</c:v>
                </c:pt>
                <c:pt idx="160">
                  <c:v>233280</c:v>
                </c:pt>
                <c:pt idx="161">
                  <c:v>234177</c:v>
                </c:pt>
                <c:pt idx="162">
                  <c:v>235163</c:v>
                </c:pt>
                <c:pt idx="163">
                  <c:v>236088</c:v>
                </c:pt>
                <c:pt idx="164">
                  <c:v>236968</c:v>
                </c:pt>
                <c:pt idx="165">
                  <c:v>237829</c:v>
                </c:pt>
                <c:pt idx="166">
                  <c:v>238357</c:v>
                </c:pt>
                <c:pt idx="167">
                  <c:v>238732</c:v>
                </c:pt>
                <c:pt idx="168">
                  <c:v>239403</c:v>
                </c:pt>
                <c:pt idx="169">
                  <c:v>240168</c:v>
                </c:pt>
                <c:pt idx="170">
                  <c:v>240874</c:v>
                </c:pt>
                <c:pt idx="171">
                  <c:v>241592</c:v>
                </c:pt>
                <c:pt idx="172">
                  <c:v>242269</c:v>
                </c:pt>
                <c:pt idx="173">
                  <c:v>242604</c:v>
                </c:pt>
                <c:pt idx="174">
                  <c:v>242865</c:v>
                </c:pt>
                <c:pt idx="175">
                  <c:v>243380</c:v>
                </c:pt>
                <c:pt idx="176">
                  <c:v>243970</c:v>
                </c:pt>
                <c:pt idx="177">
                  <c:v>244469</c:v>
                </c:pt>
                <c:pt idx="178">
                  <c:v>244972</c:v>
                </c:pt>
                <c:pt idx="179">
                  <c:v>245475</c:v>
                </c:pt>
                <c:pt idx="180">
                  <c:v>245732</c:v>
                </c:pt>
                <c:pt idx="181">
                  <c:v>245925</c:v>
                </c:pt>
                <c:pt idx="182">
                  <c:v>246423</c:v>
                </c:pt>
                <c:pt idx="183">
                  <c:v>246886</c:v>
                </c:pt>
                <c:pt idx="184">
                  <c:v>247369</c:v>
                </c:pt>
                <c:pt idx="185">
                  <c:v>247733</c:v>
                </c:pt>
                <c:pt idx="186">
                  <c:v>248218</c:v>
                </c:pt>
                <c:pt idx="187">
                  <c:v>248316</c:v>
                </c:pt>
                <c:pt idx="188">
                  <c:v>248433</c:v>
                </c:pt>
                <c:pt idx="189">
                  <c:v>248546</c:v>
                </c:pt>
                <c:pt idx="190">
                  <c:v>248647</c:v>
                </c:pt>
                <c:pt idx="191">
                  <c:v>249061</c:v>
                </c:pt>
                <c:pt idx="192">
                  <c:v>249512</c:v>
                </c:pt>
                <c:pt idx="193">
                  <c:v>249957</c:v>
                </c:pt>
                <c:pt idx="194">
                  <c:v>250125</c:v>
                </c:pt>
                <c:pt idx="195">
                  <c:v>250246</c:v>
                </c:pt>
                <c:pt idx="196">
                  <c:v>250692</c:v>
                </c:pt>
                <c:pt idx="197">
                  <c:v>251140</c:v>
                </c:pt>
                <c:pt idx="198">
                  <c:v>251630</c:v>
                </c:pt>
                <c:pt idx="199">
                  <c:v>252129</c:v>
                </c:pt>
                <c:pt idx="200">
                  <c:v>252619</c:v>
                </c:pt>
                <c:pt idx="201">
                  <c:v>252801</c:v>
                </c:pt>
                <c:pt idx="202">
                  <c:v>252948</c:v>
                </c:pt>
                <c:pt idx="203">
                  <c:v>253371</c:v>
                </c:pt>
                <c:pt idx="204">
                  <c:v>253726</c:v>
                </c:pt>
                <c:pt idx="205">
                  <c:v>254196</c:v>
                </c:pt>
                <c:pt idx="206">
                  <c:v>254593</c:v>
                </c:pt>
                <c:pt idx="207">
                  <c:v>254986</c:v>
                </c:pt>
                <c:pt idx="208">
                  <c:v>255098</c:v>
                </c:pt>
                <c:pt idx="209">
                  <c:v>255188</c:v>
                </c:pt>
                <c:pt idx="210">
                  <c:v>255576</c:v>
                </c:pt>
                <c:pt idx="211">
                  <c:v>255998</c:v>
                </c:pt>
                <c:pt idx="212">
                  <c:v>256361</c:v>
                </c:pt>
                <c:pt idx="213">
                  <c:v>256698</c:v>
                </c:pt>
                <c:pt idx="214">
                  <c:v>257120</c:v>
                </c:pt>
                <c:pt idx="215">
                  <c:v>257242</c:v>
                </c:pt>
                <c:pt idx="216">
                  <c:v>257344</c:v>
                </c:pt>
                <c:pt idx="217">
                  <c:v>257627</c:v>
                </c:pt>
                <c:pt idx="218">
                  <c:v>257895</c:v>
                </c:pt>
                <c:pt idx="219">
                  <c:v>258209</c:v>
                </c:pt>
                <c:pt idx="220">
                  <c:v>258475</c:v>
                </c:pt>
                <c:pt idx="221">
                  <c:v>258757</c:v>
                </c:pt>
                <c:pt idx="222">
                  <c:v>258830</c:v>
                </c:pt>
                <c:pt idx="223">
                  <c:v>258894</c:v>
                </c:pt>
                <c:pt idx="224">
                  <c:v>259105</c:v>
                </c:pt>
                <c:pt idx="225">
                  <c:v>259315</c:v>
                </c:pt>
                <c:pt idx="226">
                  <c:v>259478</c:v>
                </c:pt>
                <c:pt idx="227">
                  <c:v>259712</c:v>
                </c:pt>
                <c:pt idx="228">
                  <c:v>259904</c:v>
                </c:pt>
                <c:pt idx="229">
                  <c:v>259961</c:v>
                </c:pt>
                <c:pt idx="230">
                  <c:v>260007</c:v>
                </c:pt>
                <c:pt idx="231">
                  <c:v>260189</c:v>
                </c:pt>
                <c:pt idx="232">
                  <c:v>260371</c:v>
                </c:pt>
                <c:pt idx="233">
                  <c:v>260539</c:v>
                </c:pt>
                <c:pt idx="234">
                  <c:v>260703</c:v>
                </c:pt>
                <c:pt idx="235">
                  <c:v>260950</c:v>
                </c:pt>
                <c:pt idx="236">
                  <c:v>260992</c:v>
                </c:pt>
                <c:pt idx="237">
                  <c:v>261025</c:v>
                </c:pt>
                <c:pt idx="238">
                  <c:v>261227</c:v>
                </c:pt>
                <c:pt idx="239">
                  <c:v>261418</c:v>
                </c:pt>
                <c:pt idx="240">
                  <c:v>261586</c:v>
                </c:pt>
                <c:pt idx="241">
                  <c:v>261748</c:v>
                </c:pt>
                <c:pt idx="242">
                  <c:v>261967</c:v>
                </c:pt>
                <c:pt idx="243">
                  <c:v>262011</c:v>
                </c:pt>
                <c:pt idx="244">
                  <c:v>262044</c:v>
                </c:pt>
                <c:pt idx="245">
                  <c:v>262217</c:v>
                </c:pt>
                <c:pt idx="246">
                  <c:v>262382</c:v>
                </c:pt>
                <c:pt idx="247">
                  <c:v>262506</c:v>
                </c:pt>
                <c:pt idx="248">
                  <c:v>262682</c:v>
                </c:pt>
                <c:pt idx="249">
                  <c:v>262877</c:v>
                </c:pt>
                <c:pt idx="250">
                  <c:v>262912</c:v>
                </c:pt>
                <c:pt idx="251">
                  <c:v>262945</c:v>
                </c:pt>
                <c:pt idx="252">
                  <c:v>263081</c:v>
                </c:pt>
                <c:pt idx="253">
                  <c:v>263171</c:v>
                </c:pt>
                <c:pt idx="254">
                  <c:v>263295</c:v>
                </c:pt>
                <c:pt idx="255">
                  <c:v>263437</c:v>
                </c:pt>
                <c:pt idx="256">
                  <c:v>263583</c:v>
                </c:pt>
                <c:pt idx="257">
                  <c:v>263618</c:v>
                </c:pt>
                <c:pt idx="258">
                  <c:v>263641</c:v>
                </c:pt>
                <c:pt idx="259">
                  <c:v>263752</c:v>
                </c:pt>
                <c:pt idx="260">
                  <c:v>263884</c:v>
                </c:pt>
                <c:pt idx="261">
                  <c:v>263990</c:v>
                </c:pt>
                <c:pt idx="262">
                  <c:v>264111</c:v>
                </c:pt>
                <c:pt idx="263">
                  <c:v>264276</c:v>
                </c:pt>
                <c:pt idx="264">
                  <c:v>264317</c:v>
                </c:pt>
                <c:pt idx="265">
                  <c:v>264330</c:v>
                </c:pt>
                <c:pt idx="266">
                  <c:v>264432</c:v>
                </c:pt>
                <c:pt idx="267">
                  <c:v>264536</c:v>
                </c:pt>
                <c:pt idx="268">
                  <c:v>264631</c:v>
                </c:pt>
                <c:pt idx="269">
                  <c:v>264766</c:v>
                </c:pt>
                <c:pt idx="270">
                  <c:v>264933</c:v>
                </c:pt>
                <c:pt idx="271">
                  <c:v>264965</c:v>
                </c:pt>
                <c:pt idx="272">
                  <c:v>264975</c:v>
                </c:pt>
                <c:pt idx="273">
                  <c:v>265072</c:v>
                </c:pt>
                <c:pt idx="274">
                  <c:v>265080</c:v>
                </c:pt>
                <c:pt idx="275">
                  <c:v>265165</c:v>
                </c:pt>
                <c:pt idx="276">
                  <c:v>265265</c:v>
                </c:pt>
                <c:pt idx="277">
                  <c:v>265357</c:v>
                </c:pt>
                <c:pt idx="278">
                  <c:v>265378</c:v>
                </c:pt>
                <c:pt idx="279">
                  <c:v>265392</c:v>
                </c:pt>
                <c:pt idx="280">
                  <c:v>265461</c:v>
                </c:pt>
                <c:pt idx="281">
                  <c:v>265544</c:v>
                </c:pt>
                <c:pt idx="282">
                  <c:v>265643</c:v>
                </c:pt>
                <c:pt idx="283">
                  <c:v>265713</c:v>
                </c:pt>
                <c:pt idx="284">
                  <c:v>265826</c:v>
                </c:pt>
                <c:pt idx="285">
                  <c:v>265851</c:v>
                </c:pt>
                <c:pt idx="286">
                  <c:v>265863</c:v>
                </c:pt>
                <c:pt idx="287">
                  <c:v>265940</c:v>
                </c:pt>
                <c:pt idx="288">
                  <c:v>266025</c:v>
                </c:pt>
                <c:pt idx="289">
                  <c:v>266106</c:v>
                </c:pt>
                <c:pt idx="290">
                  <c:v>266174</c:v>
                </c:pt>
                <c:pt idx="291">
                  <c:v>266294</c:v>
                </c:pt>
                <c:pt idx="292">
                  <c:v>266325</c:v>
                </c:pt>
                <c:pt idx="293">
                  <c:v>266355</c:v>
                </c:pt>
                <c:pt idx="294">
                  <c:v>266486</c:v>
                </c:pt>
                <c:pt idx="295">
                  <c:v>266581</c:v>
                </c:pt>
                <c:pt idx="296">
                  <c:v>266713</c:v>
                </c:pt>
                <c:pt idx="297">
                  <c:v>266952</c:v>
                </c:pt>
                <c:pt idx="298">
                  <c:v>267259</c:v>
                </c:pt>
                <c:pt idx="299">
                  <c:v>267342</c:v>
                </c:pt>
                <c:pt idx="300">
                  <c:v>267406</c:v>
                </c:pt>
                <c:pt idx="301">
                  <c:v>267668</c:v>
                </c:pt>
                <c:pt idx="302">
                  <c:v>268030</c:v>
                </c:pt>
                <c:pt idx="303">
                  <c:v>268448</c:v>
                </c:pt>
                <c:pt idx="304">
                  <c:v>268531</c:v>
                </c:pt>
                <c:pt idx="305">
                  <c:v>268910</c:v>
                </c:pt>
                <c:pt idx="306">
                  <c:v>269018</c:v>
                </c:pt>
                <c:pt idx="307">
                  <c:v>269088</c:v>
                </c:pt>
                <c:pt idx="308">
                  <c:v>269505</c:v>
                </c:pt>
                <c:pt idx="309">
                  <c:v>269923</c:v>
                </c:pt>
                <c:pt idx="310">
                  <c:v>270340</c:v>
                </c:pt>
                <c:pt idx="311">
                  <c:v>270840</c:v>
                </c:pt>
                <c:pt idx="312">
                  <c:v>271401</c:v>
                </c:pt>
                <c:pt idx="313">
                  <c:v>271556</c:v>
                </c:pt>
                <c:pt idx="314">
                  <c:v>271653</c:v>
                </c:pt>
                <c:pt idx="315">
                  <c:v>272053</c:v>
                </c:pt>
                <c:pt idx="316">
                  <c:v>272393</c:v>
                </c:pt>
                <c:pt idx="317">
                  <c:v>272778</c:v>
                </c:pt>
                <c:pt idx="318">
                  <c:v>273178</c:v>
                </c:pt>
                <c:pt idx="319">
                  <c:v>273713</c:v>
                </c:pt>
                <c:pt idx="320">
                  <c:v>273837</c:v>
                </c:pt>
                <c:pt idx="321">
                  <c:v>273923</c:v>
                </c:pt>
                <c:pt idx="322">
                  <c:v>274344</c:v>
                </c:pt>
                <c:pt idx="323">
                  <c:v>274815</c:v>
                </c:pt>
                <c:pt idx="324">
                  <c:v>274920</c:v>
                </c:pt>
                <c:pt idx="325">
                  <c:v>275426</c:v>
                </c:pt>
                <c:pt idx="326">
                  <c:v>276051</c:v>
                </c:pt>
                <c:pt idx="327">
                  <c:v>276247</c:v>
                </c:pt>
                <c:pt idx="328">
                  <c:v>276389</c:v>
                </c:pt>
                <c:pt idx="329">
                  <c:v>276810</c:v>
                </c:pt>
                <c:pt idx="330">
                  <c:v>277233</c:v>
                </c:pt>
                <c:pt idx="331">
                  <c:v>277697</c:v>
                </c:pt>
                <c:pt idx="332">
                  <c:v>278175</c:v>
                </c:pt>
                <c:pt idx="333">
                  <c:v>278693</c:v>
                </c:pt>
                <c:pt idx="334">
                  <c:v>278843</c:v>
                </c:pt>
                <c:pt idx="335">
                  <c:v>278893</c:v>
                </c:pt>
                <c:pt idx="336">
                  <c:v>279243</c:v>
                </c:pt>
                <c:pt idx="337">
                  <c:v>279577</c:v>
                </c:pt>
                <c:pt idx="338">
                  <c:v>279927</c:v>
                </c:pt>
                <c:pt idx="339">
                  <c:v>280182</c:v>
                </c:pt>
                <c:pt idx="340">
                  <c:v>280445</c:v>
                </c:pt>
                <c:pt idx="341">
                  <c:v>280498</c:v>
                </c:pt>
                <c:pt idx="342">
                  <c:v>280518</c:v>
                </c:pt>
                <c:pt idx="343">
                  <c:v>280709</c:v>
                </c:pt>
                <c:pt idx="344">
                  <c:v>280886</c:v>
                </c:pt>
                <c:pt idx="345">
                  <c:v>281098</c:v>
                </c:pt>
                <c:pt idx="346">
                  <c:v>281266</c:v>
                </c:pt>
                <c:pt idx="347">
                  <c:v>281454</c:v>
                </c:pt>
                <c:pt idx="348">
                  <c:v>281491</c:v>
                </c:pt>
                <c:pt idx="349">
                  <c:v>281517</c:v>
                </c:pt>
                <c:pt idx="350">
                  <c:v>281692</c:v>
                </c:pt>
                <c:pt idx="351">
                  <c:v>281837</c:v>
                </c:pt>
                <c:pt idx="352">
                  <c:v>281976</c:v>
                </c:pt>
                <c:pt idx="353">
                  <c:v>282147</c:v>
                </c:pt>
                <c:pt idx="354">
                  <c:v>282338</c:v>
                </c:pt>
                <c:pt idx="355">
                  <c:v>282393</c:v>
                </c:pt>
                <c:pt idx="356">
                  <c:v>282407</c:v>
                </c:pt>
                <c:pt idx="357">
                  <c:v>282529</c:v>
                </c:pt>
                <c:pt idx="358">
                  <c:v>282636</c:v>
                </c:pt>
                <c:pt idx="359">
                  <c:v>282729</c:v>
                </c:pt>
                <c:pt idx="360">
                  <c:v>282761</c:v>
                </c:pt>
                <c:pt idx="361">
                  <c:v>282823</c:v>
                </c:pt>
                <c:pt idx="362">
                  <c:v>282892</c:v>
                </c:pt>
                <c:pt idx="363">
                  <c:v>282962</c:v>
                </c:pt>
                <c:pt idx="364">
                  <c:v>283036</c:v>
                </c:pt>
                <c:pt idx="365">
                  <c:v>283043</c:v>
                </c:pt>
                <c:pt idx="366">
                  <c:v>283051</c:v>
                </c:pt>
                <c:pt idx="367">
                  <c:v>283129</c:v>
                </c:pt>
                <c:pt idx="368">
                  <c:v>283208</c:v>
                </c:pt>
                <c:pt idx="369">
                  <c:v>283309</c:v>
                </c:pt>
                <c:pt idx="370">
                  <c:v>283425</c:v>
                </c:pt>
                <c:pt idx="371">
                  <c:v>2835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J$1:$NQ$1</c:f>
              <c:strCache>
                <c:ptCount val="372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</c:strCache>
            </c:strRef>
          </c:cat>
          <c:val>
            <c:numRef>
              <c:f>List1!$J$3:$NQ$3</c:f>
              <c:numCache>
                <c:formatCode>General</c:formatCode>
                <c:ptCount val="372"/>
                <c:pt idx="0">
                  <c:v>1123</c:v>
                </c:pt>
                <c:pt idx="1">
                  <c:v>2233</c:v>
                </c:pt>
                <c:pt idx="2">
                  <c:v>3370</c:v>
                </c:pt>
                <c:pt idx="3">
                  <c:v>3751</c:v>
                </c:pt>
                <c:pt idx="4">
                  <c:v>3870</c:v>
                </c:pt>
                <c:pt idx="5">
                  <c:v>4351</c:v>
                </c:pt>
                <c:pt idx="6">
                  <c:v>4669</c:v>
                </c:pt>
                <c:pt idx="7">
                  <c:v>6016</c:v>
                </c:pt>
                <c:pt idx="8">
                  <c:v>7659</c:v>
                </c:pt>
                <c:pt idx="9">
                  <c:v>9672</c:v>
                </c:pt>
                <c:pt idx="10">
                  <c:v>12228</c:v>
                </c:pt>
                <c:pt idx="11">
                  <c:v>15360</c:v>
                </c:pt>
                <c:pt idx="12">
                  <c:v>15806</c:v>
                </c:pt>
                <c:pt idx="13">
                  <c:v>16161</c:v>
                </c:pt>
                <c:pt idx="14">
                  <c:v>18961</c:v>
                </c:pt>
                <c:pt idx="15">
                  <c:v>22153</c:v>
                </c:pt>
                <c:pt idx="16">
                  <c:v>25018</c:v>
                </c:pt>
                <c:pt idx="17">
                  <c:v>28208</c:v>
                </c:pt>
                <c:pt idx="18">
                  <c:v>30991</c:v>
                </c:pt>
                <c:pt idx="19">
                  <c:v>31372</c:v>
                </c:pt>
                <c:pt idx="20">
                  <c:v>31599</c:v>
                </c:pt>
                <c:pt idx="21">
                  <c:v>33555</c:v>
                </c:pt>
                <c:pt idx="22">
                  <c:v>35244</c:v>
                </c:pt>
                <c:pt idx="23">
                  <c:v>36890</c:v>
                </c:pt>
                <c:pt idx="24">
                  <c:v>38423</c:v>
                </c:pt>
                <c:pt idx="25">
                  <c:v>39733</c:v>
                </c:pt>
                <c:pt idx="26">
                  <c:v>39890</c:v>
                </c:pt>
                <c:pt idx="27">
                  <c:v>39999</c:v>
                </c:pt>
                <c:pt idx="28">
                  <c:v>40644</c:v>
                </c:pt>
                <c:pt idx="29">
                  <c:v>41418</c:v>
                </c:pt>
                <c:pt idx="30">
                  <c:v>42071</c:v>
                </c:pt>
                <c:pt idx="31">
                  <c:v>42679</c:v>
                </c:pt>
                <c:pt idx="32">
                  <c:v>43243</c:v>
                </c:pt>
                <c:pt idx="33">
                  <c:v>43265</c:v>
                </c:pt>
                <c:pt idx="34">
                  <c:v>43283</c:v>
                </c:pt>
                <c:pt idx="35">
                  <c:v>43641</c:v>
                </c:pt>
                <c:pt idx="36">
                  <c:v>43983</c:v>
                </c:pt>
                <c:pt idx="37">
                  <c:v>44344</c:v>
                </c:pt>
                <c:pt idx="38">
                  <c:v>44675</c:v>
                </c:pt>
                <c:pt idx="39">
                  <c:v>45093</c:v>
                </c:pt>
                <c:pt idx="40">
                  <c:v>45115</c:v>
                </c:pt>
                <c:pt idx="41">
                  <c:v>45136</c:v>
                </c:pt>
                <c:pt idx="42">
                  <c:v>45405</c:v>
                </c:pt>
                <c:pt idx="43">
                  <c:v>45727</c:v>
                </c:pt>
                <c:pt idx="44">
                  <c:v>46130</c:v>
                </c:pt>
                <c:pt idx="45">
                  <c:v>46603</c:v>
                </c:pt>
                <c:pt idx="46">
                  <c:v>47135</c:v>
                </c:pt>
                <c:pt idx="47">
                  <c:v>47309</c:v>
                </c:pt>
                <c:pt idx="48">
                  <c:v>47363</c:v>
                </c:pt>
                <c:pt idx="49">
                  <c:v>47915</c:v>
                </c:pt>
                <c:pt idx="50">
                  <c:v>48404</c:v>
                </c:pt>
                <c:pt idx="51">
                  <c:v>48973</c:v>
                </c:pt>
                <c:pt idx="52">
                  <c:v>49642</c:v>
                </c:pt>
                <c:pt idx="53">
                  <c:v>50399</c:v>
                </c:pt>
                <c:pt idx="54">
                  <c:v>50527</c:v>
                </c:pt>
                <c:pt idx="55">
                  <c:v>50586</c:v>
                </c:pt>
                <c:pt idx="56">
                  <c:v>51183</c:v>
                </c:pt>
                <c:pt idx="57">
                  <c:v>51999</c:v>
                </c:pt>
                <c:pt idx="58">
                  <c:v>52822</c:v>
                </c:pt>
                <c:pt idx="59">
                  <c:v>54048</c:v>
                </c:pt>
                <c:pt idx="60">
                  <c:v>55038</c:v>
                </c:pt>
                <c:pt idx="61">
                  <c:v>55114</c:v>
                </c:pt>
                <c:pt idx="62">
                  <c:v>55161</c:v>
                </c:pt>
                <c:pt idx="63">
                  <c:v>56049</c:v>
                </c:pt>
                <c:pt idx="64">
                  <c:v>57002</c:v>
                </c:pt>
                <c:pt idx="65">
                  <c:v>57997</c:v>
                </c:pt>
                <c:pt idx="66">
                  <c:v>58907</c:v>
                </c:pt>
                <c:pt idx="67">
                  <c:v>60096</c:v>
                </c:pt>
                <c:pt idx="68">
                  <c:v>60345</c:v>
                </c:pt>
                <c:pt idx="69">
                  <c:v>60534</c:v>
                </c:pt>
                <c:pt idx="70">
                  <c:v>61313</c:v>
                </c:pt>
                <c:pt idx="71">
                  <c:v>62239</c:v>
                </c:pt>
                <c:pt idx="72">
                  <c:v>63188</c:v>
                </c:pt>
                <c:pt idx="73">
                  <c:v>64515</c:v>
                </c:pt>
                <c:pt idx="74">
                  <c:v>65619</c:v>
                </c:pt>
                <c:pt idx="75">
                  <c:v>65855</c:v>
                </c:pt>
                <c:pt idx="76">
                  <c:v>66098</c:v>
                </c:pt>
                <c:pt idx="77">
                  <c:v>66803</c:v>
                </c:pt>
                <c:pt idx="78">
                  <c:v>67844</c:v>
                </c:pt>
                <c:pt idx="79">
                  <c:v>68866</c:v>
                </c:pt>
                <c:pt idx="80">
                  <c:v>69760</c:v>
                </c:pt>
                <c:pt idx="81">
                  <c:v>70736</c:v>
                </c:pt>
                <c:pt idx="82">
                  <c:v>71096</c:v>
                </c:pt>
                <c:pt idx="83">
                  <c:v>71268</c:v>
                </c:pt>
                <c:pt idx="84">
                  <c:v>71800</c:v>
                </c:pt>
                <c:pt idx="85">
                  <c:v>72353</c:v>
                </c:pt>
                <c:pt idx="86">
                  <c:v>72859</c:v>
                </c:pt>
                <c:pt idx="87">
                  <c:v>73418</c:v>
                </c:pt>
                <c:pt idx="88">
                  <c:v>73999</c:v>
                </c:pt>
                <c:pt idx="89">
                  <c:v>74151</c:v>
                </c:pt>
                <c:pt idx="90">
                  <c:v>74318</c:v>
                </c:pt>
                <c:pt idx="91">
                  <c:v>74666</c:v>
                </c:pt>
                <c:pt idx="92">
                  <c:v>75112</c:v>
                </c:pt>
                <c:pt idx="93">
                  <c:v>75580</c:v>
                </c:pt>
                <c:pt idx="94">
                  <c:v>76034</c:v>
                </c:pt>
                <c:pt idx="95">
                  <c:v>76139</c:v>
                </c:pt>
                <c:pt idx="96">
                  <c:v>76181</c:v>
                </c:pt>
                <c:pt idx="97">
                  <c:v>76230</c:v>
                </c:pt>
                <c:pt idx="98">
                  <c:v>76266</c:v>
                </c:pt>
                <c:pt idx="99">
                  <c:v>76512</c:v>
                </c:pt>
                <c:pt idx="100">
                  <c:v>76830</c:v>
                </c:pt>
                <c:pt idx="101">
                  <c:v>77369</c:v>
                </c:pt>
                <c:pt idx="102">
                  <c:v>77943</c:v>
                </c:pt>
                <c:pt idx="103">
                  <c:v>78102</c:v>
                </c:pt>
                <c:pt idx="104">
                  <c:v>78203</c:v>
                </c:pt>
                <c:pt idx="105">
                  <c:v>78630</c:v>
                </c:pt>
                <c:pt idx="106">
                  <c:v>79009</c:v>
                </c:pt>
                <c:pt idx="107">
                  <c:v>79463</c:v>
                </c:pt>
                <c:pt idx="108">
                  <c:v>80123</c:v>
                </c:pt>
                <c:pt idx="109">
                  <c:v>80849</c:v>
                </c:pt>
                <c:pt idx="110">
                  <c:v>81052</c:v>
                </c:pt>
                <c:pt idx="111">
                  <c:v>81244</c:v>
                </c:pt>
                <c:pt idx="112">
                  <c:v>81765</c:v>
                </c:pt>
                <c:pt idx="113">
                  <c:v>82269</c:v>
                </c:pt>
                <c:pt idx="114">
                  <c:v>82928</c:v>
                </c:pt>
                <c:pt idx="115">
                  <c:v>83653</c:v>
                </c:pt>
                <c:pt idx="116">
                  <c:v>84364</c:v>
                </c:pt>
                <c:pt idx="117">
                  <c:v>84564</c:v>
                </c:pt>
                <c:pt idx="118">
                  <c:v>84752</c:v>
                </c:pt>
                <c:pt idx="119">
                  <c:v>85358</c:v>
                </c:pt>
                <c:pt idx="120">
                  <c:v>85906</c:v>
                </c:pt>
                <c:pt idx="121">
                  <c:v>86609</c:v>
                </c:pt>
                <c:pt idx="122">
                  <c:v>87366</c:v>
                </c:pt>
                <c:pt idx="123">
                  <c:v>88013</c:v>
                </c:pt>
                <c:pt idx="124">
                  <c:v>88167</c:v>
                </c:pt>
                <c:pt idx="125">
                  <c:v>88320</c:v>
                </c:pt>
                <c:pt idx="126">
                  <c:v>88828</c:v>
                </c:pt>
                <c:pt idx="127">
                  <c:v>89349</c:v>
                </c:pt>
                <c:pt idx="128">
                  <c:v>89874</c:v>
                </c:pt>
                <c:pt idx="129">
                  <c:v>90421</c:v>
                </c:pt>
                <c:pt idx="130">
                  <c:v>90993</c:v>
                </c:pt>
                <c:pt idx="131">
                  <c:v>91210</c:v>
                </c:pt>
                <c:pt idx="132">
                  <c:v>91317</c:v>
                </c:pt>
                <c:pt idx="133">
                  <c:v>91715</c:v>
                </c:pt>
                <c:pt idx="134">
                  <c:v>92194</c:v>
                </c:pt>
                <c:pt idx="135">
                  <c:v>92627</c:v>
                </c:pt>
                <c:pt idx="136">
                  <c:v>93062</c:v>
                </c:pt>
                <c:pt idx="137">
                  <c:v>93428</c:v>
                </c:pt>
                <c:pt idx="138">
                  <c:v>93590</c:v>
                </c:pt>
                <c:pt idx="139">
                  <c:v>93694</c:v>
                </c:pt>
                <c:pt idx="140">
                  <c:v>94011</c:v>
                </c:pt>
                <c:pt idx="141">
                  <c:v>94384</c:v>
                </c:pt>
                <c:pt idx="142">
                  <c:v>94745</c:v>
                </c:pt>
                <c:pt idx="143">
                  <c:v>95138</c:v>
                </c:pt>
                <c:pt idx="144">
                  <c:v>95502</c:v>
                </c:pt>
                <c:pt idx="145">
                  <c:v>95647</c:v>
                </c:pt>
                <c:pt idx="146">
                  <c:v>95745</c:v>
                </c:pt>
                <c:pt idx="147">
                  <c:v>95959</c:v>
                </c:pt>
                <c:pt idx="148">
                  <c:v>96198</c:v>
                </c:pt>
                <c:pt idx="149">
                  <c:v>96550</c:v>
                </c:pt>
                <c:pt idx="150">
                  <c:v>96879</c:v>
                </c:pt>
                <c:pt idx="151">
                  <c:v>97164</c:v>
                </c:pt>
                <c:pt idx="152">
                  <c:v>97306</c:v>
                </c:pt>
                <c:pt idx="153">
                  <c:v>97397</c:v>
                </c:pt>
                <c:pt idx="154">
                  <c:v>97674</c:v>
                </c:pt>
                <c:pt idx="155">
                  <c:v>97945</c:v>
                </c:pt>
                <c:pt idx="156">
                  <c:v>98289</c:v>
                </c:pt>
                <c:pt idx="157">
                  <c:v>98642</c:v>
                </c:pt>
                <c:pt idx="158">
                  <c:v>98967</c:v>
                </c:pt>
                <c:pt idx="159">
                  <c:v>99104</c:v>
                </c:pt>
                <c:pt idx="160">
                  <c:v>99234</c:v>
                </c:pt>
                <c:pt idx="161">
                  <c:v>99571</c:v>
                </c:pt>
                <c:pt idx="162">
                  <c:v>99911</c:v>
                </c:pt>
                <c:pt idx="163">
                  <c:v>100261</c:v>
                </c:pt>
                <c:pt idx="164">
                  <c:v>100621</c:v>
                </c:pt>
                <c:pt idx="165">
                  <c:v>100922</c:v>
                </c:pt>
                <c:pt idx="166">
                  <c:v>101130</c:v>
                </c:pt>
                <c:pt idx="167">
                  <c:v>101247</c:v>
                </c:pt>
                <c:pt idx="168">
                  <c:v>101491</c:v>
                </c:pt>
                <c:pt idx="169">
                  <c:v>101765</c:v>
                </c:pt>
                <c:pt idx="170">
                  <c:v>102006</c:v>
                </c:pt>
                <c:pt idx="171">
                  <c:v>102277</c:v>
                </c:pt>
                <c:pt idx="172">
                  <c:v>102494</c:v>
                </c:pt>
                <c:pt idx="173">
                  <c:v>102612</c:v>
                </c:pt>
                <c:pt idx="174">
                  <c:v>102706</c:v>
                </c:pt>
                <c:pt idx="175">
                  <c:v>102884</c:v>
                </c:pt>
                <c:pt idx="176">
                  <c:v>103105</c:v>
                </c:pt>
                <c:pt idx="177">
                  <c:v>103294</c:v>
                </c:pt>
                <c:pt idx="178">
                  <c:v>103455</c:v>
                </c:pt>
                <c:pt idx="179">
                  <c:v>103641</c:v>
                </c:pt>
                <c:pt idx="180">
                  <c:v>103732</c:v>
                </c:pt>
                <c:pt idx="181">
                  <c:v>103800</c:v>
                </c:pt>
                <c:pt idx="182">
                  <c:v>103981</c:v>
                </c:pt>
                <c:pt idx="183">
                  <c:v>104149</c:v>
                </c:pt>
                <c:pt idx="184">
                  <c:v>104330</c:v>
                </c:pt>
                <c:pt idx="185">
                  <c:v>104471</c:v>
                </c:pt>
                <c:pt idx="186">
                  <c:v>104664</c:v>
                </c:pt>
                <c:pt idx="187">
                  <c:v>104698</c:v>
                </c:pt>
                <c:pt idx="188">
                  <c:v>104743</c:v>
                </c:pt>
                <c:pt idx="189">
                  <c:v>104792</c:v>
                </c:pt>
                <c:pt idx="190">
                  <c:v>104824</c:v>
                </c:pt>
                <c:pt idx="191">
                  <c:v>104988</c:v>
                </c:pt>
                <c:pt idx="192">
                  <c:v>105166</c:v>
                </c:pt>
                <c:pt idx="193">
                  <c:v>105338</c:v>
                </c:pt>
                <c:pt idx="194">
                  <c:v>105398</c:v>
                </c:pt>
                <c:pt idx="195">
                  <c:v>105447</c:v>
                </c:pt>
                <c:pt idx="196">
                  <c:v>105609</c:v>
                </c:pt>
                <c:pt idx="197">
                  <c:v>105794</c:v>
                </c:pt>
                <c:pt idx="198">
                  <c:v>105997</c:v>
                </c:pt>
                <c:pt idx="199">
                  <c:v>106188</c:v>
                </c:pt>
                <c:pt idx="200">
                  <c:v>106371</c:v>
                </c:pt>
                <c:pt idx="201">
                  <c:v>106421</c:v>
                </c:pt>
                <c:pt idx="202">
                  <c:v>106479</c:v>
                </c:pt>
                <c:pt idx="203">
                  <c:v>106649</c:v>
                </c:pt>
                <c:pt idx="204">
                  <c:v>106798</c:v>
                </c:pt>
                <c:pt idx="205">
                  <c:v>106978</c:v>
                </c:pt>
                <c:pt idx="206">
                  <c:v>107156</c:v>
                </c:pt>
                <c:pt idx="207">
                  <c:v>107303</c:v>
                </c:pt>
                <c:pt idx="208">
                  <c:v>107347</c:v>
                </c:pt>
                <c:pt idx="209">
                  <c:v>107373</c:v>
                </c:pt>
                <c:pt idx="210">
                  <c:v>107541</c:v>
                </c:pt>
                <c:pt idx="211">
                  <c:v>107711</c:v>
                </c:pt>
                <c:pt idx="212">
                  <c:v>107862</c:v>
                </c:pt>
                <c:pt idx="213">
                  <c:v>108011</c:v>
                </c:pt>
                <c:pt idx="214">
                  <c:v>108176</c:v>
                </c:pt>
                <c:pt idx="215">
                  <c:v>108215</c:v>
                </c:pt>
                <c:pt idx="216">
                  <c:v>108255</c:v>
                </c:pt>
                <c:pt idx="217">
                  <c:v>108354</c:v>
                </c:pt>
                <c:pt idx="218">
                  <c:v>108466</c:v>
                </c:pt>
                <c:pt idx="219">
                  <c:v>108595</c:v>
                </c:pt>
                <c:pt idx="220">
                  <c:v>108704</c:v>
                </c:pt>
                <c:pt idx="221">
                  <c:v>108824</c:v>
                </c:pt>
                <c:pt idx="222">
                  <c:v>108846</c:v>
                </c:pt>
                <c:pt idx="223">
                  <c:v>108871</c:v>
                </c:pt>
                <c:pt idx="224">
                  <c:v>108956</c:v>
                </c:pt>
                <c:pt idx="225">
                  <c:v>109035</c:v>
                </c:pt>
                <c:pt idx="226">
                  <c:v>109105</c:v>
                </c:pt>
                <c:pt idx="227">
                  <c:v>109211</c:v>
                </c:pt>
                <c:pt idx="228">
                  <c:v>109274</c:v>
                </c:pt>
                <c:pt idx="229">
                  <c:v>109295</c:v>
                </c:pt>
                <c:pt idx="230">
                  <c:v>109317</c:v>
                </c:pt>
                <c:pt idx="231">
                  <c:v>109400</c:v>
                </c:pt>
                <c:pt idx="232">
                  <c:v>109479</c:v>
                </c:pt>
                <c:pt idx="233">
                  <c:v>109541</c:v>
                </c:pt>
                <c:pt idx="234">
                  <c:v>109611</c:v>
                </c:pt>
                <c:pt idx="235">
                  <c:v>109726</c:v>
                </c:pt>
                <c:pt idx="236">
                  <c:v>109740</c:v>
                </c:pt>
                <c:pt idx="237">
                  <c:v>109751</c:v>
                </c:pt>
                <c:pt idx="238">
                  <c:v>109847</c:v>
                </c:pt>
                <c:pt idx="239">
                  <c:v>109935</c:v>
                </c:pt>
                <c:pt idx="240">
                  <c:v>110002</c:v>
                </c:pt>
                <c:pt idx="241">
                  <c:v>110074</c:v>
                </c:pt>
                <c:pt idx="242">
                  <c:v>110162</c:v>
                </c:pt>
                <c:pt idx="243">
                  <c:v>110178</c:v>
                </c:pt>
                <c:pt idx="244">
                  <c:v>110194</c:v>
                </c:pt>
                <c:pt idx="245">
                  <c:v>110266</c:v>
                </c:pt>
                <c:pt idx="246">
                  <c:v>110327</c:v>
                </c:pt>
                <c:pt idx="247">
                  <c:v>110383</c:v>
                </c:pt>
                <c:pt idx="248">
                  <c:v>110457</c:v>
                </c:pt>
                <c:pt idx="249">
                  <c:v>110533</c:v>
                </c:pt>
                <c:pt idx="250">
                  <c:v>110545</c:v>
                </c:pt>
                <c:pt idx="251">
                  <c:v>110555</c:v>
                </c:pt>
                <c:pt idx="252">
                  <c:v>110614</c:v>
                </c:pt>
                <c:pt idx="253">
                  <c:v>110656</c:v>
                </c:pt>
                <c:pt idx="254">
                  <c:v>110707</c:v>
                </c:pt>
                <c:pt idx="255">
                  <c:v>110763</c:v>
                </c:pt>
                <c:pt idx="256">
                  <c:v>110814</c:v>
                </c:pt>
                <c:pt idx="257">
                  <c:v>110831</c:v>
                </c:pt>
                <c:pt idx="258">
                  <c:v>110838</c:v>
                </c:pt>
                <c:pt idx="259">
                  <c:v>110882</c:v>
                </c:pt>
                <c:pt idx="260">
                  <c:v>110945</c:v>
                </c:pt>
                <c:pt idx="261">
                  <c:v>110993</c:v>
                </c:pt>
                <c:pt idx="262">
                  <c:v>111050</c:v>
                </c:pt>
                <c:pt idx="263">
                  <c:v>111118</c:v>
                </c:pt>
                <c:pt idx="264">
                  <c:v>111135</c:v>
                </c:pt>
                <c:pt idx="265">
                  <c:v>111142</c:v>
                </c:pt>
                <c:pt idx="266">
                  <c:v>111180</c:v>
                </c:pt>
                <c:pt idx="267">
                  <c:v>111229</c:v>
                </c:pt>
                <c:pt idx="268">
                  <c:v>111271</c:v>
                </c:pt>
                <c:pt idx="269">
                  <c:v>111324</c:v>
                </c:pt>
                <c:pt idx="270">
                  <c:v>111396</c:v>
                </c:pt>
                <c:pt idx="271">
                  <c:v>111406</c:v>
                </c:pt>
                <c:pt idx="272">
                  <c:v>111410</c:v>
                </c:pt>
                <c:pt idx="273">
                  <c:v>111453</c:v>
                </c:pt>
                <c:pt idx="274">
                  <c:v>111455</c:v>
                </c:pt>
                <c:pt idx="275">
                  <c:v>111496</c:v>
                </c:pt>
                <c:pt idx="276">
                  <c:v>111535</c:v>
                </c:pt>
                <c:pt idx="277">
                  <c:v>111569</c:v>
                </c:pt>
                <c:pt idx="278">
                  <c:v>111576</c:v>
                </c:pt>
                <c:pt idx="279">
                  <c:v>111583</c:v>
                </c:pt>
                <c:pt idx="280">
                  <c:v>111611</c:v>
                </c:pt>
                <c:pt idx="281">
                  <c:v>111658</c:v>
                </c:pt>
                <c:pt idx="282">
                  <c:v>111707</c:v>
                </c:pt>
                <c:pt idx="283">
                  <c:v>111735</c:v>
                </c:pt>
                <c:pt idx="284">
                  <c:v>111786</c:v>
                </c:pt>
                <c:pt idx="285">
                  <c:v>111796</c:v>
                </c:pt>
                <c:pt idx="286">
                  <c:v>111801</c:v>
                </c:pt>
                <c:pt idx="287">
                  <c:v>111831</c:v>
                </c:pt>
                <c:pt idx="288">
                  <c:v>111852</c:v>
                </c:pt>
                <c:pt idx="289">
                  <c:v>111889</c:v>
                </c:pt>
                <c:pt idx="290">
                  <c:v>111919</c:v>
                </c:pt>
                <c:pt idx="291">
                  <c:v>111964</c:v>
                </c:pt>
                <c:pt idx="292">
                  <c:v>111976</c:v>
                </c:pt>
                <c:pt idx="293">
                  <c:v>111993</c:v>
                </c:pt>
                <c:pt idx="294">
                  <c:v>112045</c:v>
                </c:pt>
                <c:pt idx="295">
                  <c:v>112101</c:v>
                </c:pt>
                <c:pt idx="296">
                  <c:v>112160</c:v>
                </c:pt>
                <c:pt idx="297">
                  <c:v>112274</c:v>
                </c:pt>
                <c:pt idx="298">
                  <c:v>112398</c:v>
                </c:pt>
                <c:pt idx="299">
                  <c:v>112424</c:v>
                </c:pt>
                <c:pt idx="300">
                  <c:v>112448</c:v>
                </c:pt>
                <c:pt idx="301">
                  <c:v>112572</c:v>
                </c:pt>
                <c:pt idx="302">
                  <c:v>112740</c:v>
                </c:pt>
                <c:pt idx="303">
                  <c:v>112941</c:v>
                </c:pt>
                <c:pt idx="304">
                  <c:v>112978</c:v>
                </c:pt>
                <c:pt idx="305">
                  <c:v>113142</c:v>
                </c:pt>
                <c:pt idx="306">
                  <c:v>113188</c:v>
                </c:pt>
                <c:pt idx="307">
                  <c:v>113220</c:v>
                </c:pt>
                <c:pt idx="308">
                  <c:v>113389</c:v>
                </c:pt>
                <c:pt idx="309">
                  <c:v>113590</c:v>
                </c:pt>
                <c:pt idx="310">
                  <c:v>113780</c:v>
                </c:pt>
                <c:pt idx="311">
                  <c:v>114012</c:v>
                </c:pt>
                <c:pt idx="312">
                  <c:v>114259</c:v>
                </c:pt>
                <c:pt idx="313">
                  <c:v>114317</c:v>
                </c:pt>
                <c:pt idx="314">
                  <c:v>114355</c:v>
                </c:pt>
                <c:pt idx="315">
                  <c:v>114541</c:v>
                </c:pt>
                <c:pt idx="316">
                  <c:v>114696</c:v>
                </c:pt>
                <c:pt idx="317">
                  <c:v>114884</c:v>
                </c:pt>
                <c:pt idx="318">
                  <c:v>115062</c:v>
                </c:pt>
                <c:pt idx="319">
                  <c:v>115267</c:v>
                </c:pt>
                <c:pt idx="320">
                  <c:v>115326</c:v>
                </c:pt>
                <c:pt idx="321">
                  <c:v>115365</c:v>
                </c:pt>
                <c:pt idx="322">
                  <c:v>115555</c:v>
                </c:pt>
                <c:pt idx="323">
                  <c:v>115758</c:v>
                </c:pt>
                <c:pt idx="324">
                  <c:v>115808</c:v>
                </c:pt>
                <c:pt idx="325">
                  <c:v>116029</c:v>
                </c:pt>
                <c:pt idx="326">
                  <c:v>116307</c:v>
                </c:pt>
                <c:pt idx="327">
                  <c:v>116398</c:v>
                </c:pt>
                <c:pt idx="328">
                  <c:v>116465</c:v>
                </c:pt>
                <c:pt idx="329">
                  <c:v>116651</c:v>
                </c:pt>
                <c:pt idx="330">
                  <c:v>116830</c:v>
                </c:pt>
                <c:pt idx="331">
                  <c:v>117057</c:v>
                </c:pt>
                <c:pt idx="332">
                  <c:v>117272</c:v>
                </c:pt>
                <c:pt idx="333">
                  <c:v>117510</c:v>
                </c:pt>
                <c:pt idx="334">
                  <c:v>117572</c:v>
                </c:pt>
                <c:pt idx="335">
                  <c:v>117595</c:v>
                </c:pt>
                <c:pt idx="336">
                  <c:v>117745</c:v>
                </c:pt>
                <c:pt idx="337">
                  <c:v>117905</c:v>
                </c:pt>
                <c:pt idx="338">
                  <c:v>118060</c:v>
                </c:pt>
                <c:pt idx="339">
                  <c:v>118176</c:v>
                </c:pt>
                <c:pt idx="340">
                  <c:v>118290</c:v>
                </c:pt>
                <c:pt idx="341">
                  <c:v>118317</c:v>
                </c:pt>
                <c:pt idx="342">
                  <c:v>118327</c:v>
                </c:pt>
                <c:pt idx="343">
                  <c:v>118426</c:v>
                </c:pt>
                <c:pt idx="344">
                  <c:v>118508</c:v>
                </c:pt>
                <c:pt idx="345">
                  <c:v>118607</c:v>
                </c:pt>
                <c:pt idx="346">
                  <c:v>118682</c:v>
                </c:pt>
                <c:pt idx="347">
                  <c:v>118765</c:v>
                </c:pt>
                <c:pt idx="348">
                  <c:v>118779</c:v>
                </c:pt>
                <c:pt idx="349">
                  <c:v>118790</c:v>
                </c:pt>
                <c:pt idx="350">
                  <c:v>118876</c:v>
                </c:pt>
                <c:pt idx="351">
                  <c:v>118937</c:v>
                </c:pt>
                <c:pt idx="352">
                  <c:v>119018</c:v>
                </c:pt>
                <c:pt idx="353">
                  <c:v>119099</c:v>
                </c:pt>
                <c:pt idx="354">
                  <c:v>119183</c:v>
                </c:pt>
                <c:pt idx="355">
                  <c:v>119208</c:v>
                </c:pt>
                <c:pt idx="356">
                  <c:v>119212</c:v>
                </c:pt>
                <c:pt idx="357">
                  <c:v>119269</c:v>
                </c:pt>
                <c:pt idx="358">
                  <c:v>119309</c:v>
                </c:pt>
                <c:pt idx="359">
                  <c:v>119347</c:v>
                </c:pt>
                <c:pt idx="360">
                  <c:v>119367</c:v>
                </c:pt>
                <c:pt idx="361">
                  <c:v>119394</c:v>
                </c:pt>
                <c:pt idx="362">
                  <c:v>119429</c:v>
                </c:pt>
                <c:pt idx="363">
                  <c:v>119469</c:v>
                </c:pt>
                <c:pt idx="364">
                  <c:v>119503</c:v>
                </c:pt>
                <c:pt idx="365">
                  <c:v>119506</c:v>
                </c:pt>
                <c:pt idx="366">
                  <c:v>119509</c:v>
                </c:pt>
                <c:pt idx="367">
                  <c:v>119552</c:v>
                </c:pt>
                <c:pt idx="368">
                  <c:v>119584</c:v>
                </c:pt>
                <c:pt idx="369">
                  <c:v>119642</c:v>
                </c:pt>
                <c:pt idx="370">
                  <c:v>119697</c:v>
                </c:pt>
                <c:pt idx="371">
                  <c:v>1197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J$1:$NQ$1</c:f>
              <c:strCache>
                <c:ptCount val="372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</c:strCache>
            </c:strRef>
          </c:cat>
          <c:val>
            <c:numRef>
              <c:f>List1!$J$4:$NQ$4</c:f>
              <c:numCache>
                <c:formatCode>General</c:formatCode>
                <c:ptCount val="372"/>
                <c:pt idx="0">
                  <c:v>641</c:v>
                </c:pt>
                <c:pt idx="1">
                  <c:v>1249</c:v>
                </c:pt>
                <c:pt idx="2">
                  <c:v>1874</c:v>
                </c:pt>
                <c:pt idx="3">
                  <c:v>2047</c:v>
                </c:pt>
                <c:pt idx="4">
                  <c:v>2076</c:v>
                </c:pt>
                <c:pt idx="5">
                  <c:v>2364</c:v>
                </c:pt>
                <c:pt idx="6">
                  <c:v>2575</c:v>
                </c:pt>
                <c:pt idx="7">
                  <c:v>3202</c:v>
                </c:pt>
                <c:pt idx="8">
                  <c:v>4166</c:v>
                </c:pt>
                <c:pt idx="9">
                  <c:v>5584</c:v>
                </c:pt>
                <c:pt idx="10">
                  <c:v>7185</c:v>
                </c:pt>
                <c:pt idx="11">
                  <c:v>9032</c:v>
                </c:pt>
                <c:pt idx="12">
                  <c:v>9340</c:v>
                </c:pt>
                <c:pt idx="13">
                  <c:v>9650</c:v>
                </c:pt>
                <c:pt idx="14">
                  <c:v>11517</c:v>
                </c:pt>
                <c:pt idx="15">
                  <c:v>13799</c:v>
                </c:pt>
                <c:pt idx="16">
                  <c:v>15842</c:v>
                </c:pt>
                <c:pt idx="17">
                  <c:v>17731</c:v>
                </c:pt>
                <c:pt idx="18">
                  <c:v>19342</c:v>
                </c:pt>
                <c:pt idx="19">
                  <c:v>19562</c:v>
                </c:pt>
                <c:pt idx="20">
                  <c:v>19658</c:v>
                </c:pt>
                <c:pt idx="21">
                  <c:v>20833</c:v>
                </c:pt>
                <c:pt idx="22">
                  <c:v>21767</c:v>
                </c:pt>
                <c:pt idx="23">
                  <c:v>22711</c:v>
                </c:pt>
                <c:pt idx="24">
                  <c:v>23568</c:v>
                </c:pt>
                <c:pt idx="25">
                  <c:v>24320</c:v>
                </c:pt>
                <c:pt idx="26">
                  <c:v>24384</c:v>
                </c:pt>
                <c:pt idx="27">
                  <c:v>24429</c:v>
                </c:pt>
                <c:pt idx="28">
                  <c:v>24880</c:v>
                </c:pt>
                <c:pt idx="29">
                  <c:v>25334</c:v>
                </c:pt>
                <c:pt idx="30">
                  <c:v>25731</c:v>
                </c:pt>
                <c:pt idx="31">
                  <c:v>26133</c:v>
                </c:pt>
                <c:pt idx="32">
                  <c:v>26517</c:v>
                </c:pt>
                <c:pt idx="33">
                  <c:v>26541</c:v>
                </c:pt>
                <c:pt idx="34">
                  <c:v>26573</c:v>
                </c:pt>
                <c:pt idx="35">
                  <c:v>26865</c:v>
                </c:pt>
                <c:pt idx="36">
                  <c:v>27155</c:v>
                </c:pt>
                <c:pt idx="37">
                  <c:v>27388</c:v>
                </c:pt>
                <c:pt idx="38">
                  <c:v>27572</c:v>
                </c:pt>
                <c:pt idx="39">
                  <c:v>27807</c:v>
                </c:pt>
                <c:pt idx="40">
                  <c:v>27816</c:v>
                </c:pt>
                <c:pt idx="41">
                  <c:v>27834</c:v>
                </c:pt>
                <c:pt idx="42">
                  <c:v>28071</c:v>
                </c:pt>
                <c:pt idx="43">
                  <c:v>28266</c:v>
                </c:pt>
                <c:pt idx="44">
                  <c:v>28533</c:v>
                </c:pt>
                <c:pt idx="45">
                  <c:v>28883</c:v>
                </c:pt>
                <c:pt idx="46">
                  <c:v>29275</c:v>
                </c:pt>
                <c:pt idx="47">
                  <c:v>29387</c:v>
                </c:pt>
                <c:pt idx="48">
                  <c:v>29453</c:v>
                </c:pt>
                <c:pt idx="49">
                  <c:v>29869</c:v>
                </c:pt>
                <c:pt idx="50">
                  <c:v>30375</c:v>
                </c:pt>
                <c:pt idx="51">
                  <c:v>30920</c:v>
                </c:pt>
                <c:pt idx="52">
                  <c:v>31478</c:v>
                </c:pt>
                <c:pt idx="53">
                  <c:v>32132</c:v>
                </c:pt>
                <c:pt idx="54">
                  <c:v>32358</c:v>
                </c:pt>
                <c:pt idx="55">
                  <c:v>32415</c:v>
                </c:pt>
                <c:pt idx="56">
                  <c:v>33100</c:v>
                </c:pt>
                <c:pt idx="57">
                  <c:v>34102</c:v>
                </c:pt>
                <c:pt idx="58">
                  <c:v>35179</c:v>
                </c:pt>
                <c:pt idx="59">
                  <c:v>36331</c:v>
                </c:pt>
                <c:pt idx="60">
                  <c:v>37406</c:v>
                </c:pt>
                <c:pt idx="61">
                  <c:v>37565</c:v>
                </c:pt>
                <c:pt idx="62">
                  <c:v>37695</c:v>
                </c:pt>
                <c:pt idx="63">
                  <c:v>38809</c:v>
                </c:pt>
                <c:pt idx="64">
                  <c:v>40020</c:v>
                </c:pt>
                <c:pt idx="65">
                  <c:v>41132</c:v>
                </c:pt>
                <c:pt idx="66">
                  <c:v>42134</c:v>
                </c:pt>
                <c:pt idx="67">
                  <c:v>43321</c:v>
                </c:pt>
                <c:pt idx="68">
                  <c:v>43610</c:v>
                </c:pt>
                <c:pt idx="69">
                  <c:v>43825</c:v>
                </c:pt>
                <c:pt idx="70">
                  <c:v>44668</c:v>
                </c:pt>
                <c:pt idx="71">
                  <c:v>45491</c:v>
                </c:pt>
                <c:pt idx="72">
                  <c:v>46388</c:v>
                </c:pt>
                <c:pt idx="73">
                  <c:v>47586</c:v>
                </c:pt>
                <c:pt idx="74">
                  <c:v>48698</c:v>
                </c:pt>
                <c:pt idx="75">
                  <c:v>48982</c:v>
                </c:pt>
                <c:pt idx="76">
                  <c:v>49223</c:v>
                </c:pt>
                <c:pt idx="77">
                  <c:v>49854</c:v>
                </c:pt>
                <c:pt idx="78">
                  <c:v>50784</c:v>
                </c:pt>
                <c:pt idx="79">
                  <c:v>51723</c:v>
                </c:pt>
                <c:pt idx="80">
                  <c:v>52502</c:v>
                </c:pt>
                <c:pt idx="81">
                  <c:v>53459</c:v>
                </c:pt>
                <c:pt idx="82">
                  <c:v>53859</c:v>
                </c:pt>
                <c:pt idx="83">
                  <c:v>54065</c:v>
                </c:pt>
                <c:pt idx="84">
                  <c:v>54514</c:v>
                </c:pt>
                <c:pt idx="85">
                  <c:v>55008</c:v>
                </c:pt>
                <c:pt idx="86">
                  <c:v>55425</c:v>
                </c:pt>
                <c:pt idx="87">
                  <c:v>55971</c:v>
                </c:pt>
                <c:pt idx="88">
                  <c:v>56549</c:v>
                </c:pt>
                <c:pt idx="89">
                  <c:v>56709</c:v>
                </c:pt>
                <c:pt idx="90">
                  <c:v>56845</c:v>
                </c:pt>
                <c:pt idx="91">
                  <c:v>57156</c:v>
                </c:pt>
                <c:pt idx="92">
                  <c:v>57578</c:v>
                </c:pt>
                <c:pt idx="93">
                  <c:v>58074</c:v>
                </c:pt>
                <c:pt idx="94">
                  <c:v>58504</c:v>
                </c:pt>
                <c:pt idx="95">
                  <c:v>58591</c:v>
                </c:pt>
                <c:pt idx="96">
                  <c:v>58649</c:v>
                </c:pt>
                <c:pt idx="97">
                  <c:v>58687</c:v>
                </c:pt>
                <c:pt idx="98">
                  <c:v>58716</c:v>
                </c:pt>
                <c:pt idx="99">
                  <c:v>58946</c:v>
                </c:pt>
                <c:pt idx="100">
                  <c:v>59209</c:v>
                </c:pt>
                <c:pt idx="101">
                  <c:v>59749</c:v>
                </c:pt>
                <c:pt idx="102">
                  <c:v>60252</c:v>
                </c:pt>
                <c:pt idx="103">
                  <c:v>60425</c:v>
                </c:pt>
                <c:pt idx="104">
                  <c:v>60540</c:v>
                </c:pt>
                <c:pt idx="105">
                  <c:v>60919</c:v>
                </c:pt>
                <c:pt idx="106">
                  <c:v>61232</c:v>
                </c:pt>
                <c:pt idx="107">
                  <c:v>61617</c:v>
                </c:pt>
                <c:pt idx="108">
                  <c:v>62168</c:v>
                </c:pt>
                <c:pt idx="109">
                  <c:v>62816</c:v>
                </c:pt>
                <c:pt idx="110">
                  <c:v>62993</c:v>
                </c:pt>
                <c:pt idx="111">
                  <c:v>63187</c:v>
                </c:pt>
                <c:pt idx="112">
                  <c:v>63644</c:v>
                </c:pt>
                <c:pt idx="113">
                  <c:v>64070</c:v>
                </c:pt>
                <c:pt idx="114">
                  <c:v>64570</c:v>
                </c:pt>
                <c:pt idx="115">
                  <c:v>65171</c:v>
                </c:pt>
                <c:pt idx="116">
                  <c:v>65820</c:v>
                </c:pt>
                <c:pt idx="117">
                  <c:v>66005</c:v>
                </c:pt>
                <c:pt idx="118">
                  <c:v>66156</c:v>
                </c:pt>
                <c:pt idx="119">
                  <c:v>66639</c:v>
                </c:pt>
                <c:pt idx="120">
                  <c:v>67062</c:v>
                </c:pt>
                <c:pt idx="121">
                  <c:v>67630</c:v>
                </c:pt>
                <c:pt idx="122">
                  <c:v>68217</c:v>
                </c:pt>
                <c:pt idx="123">
                  <c:v>68835</c:v>
                </c:pt>
                <c:pt idx="124">
                  <c:v>68989</c:v>
                </c:pt>
                <c:pt idx="125">
                  <c:v>69145</c:v>
                </c:pt>
                <c:pt idx="126">
                  <c:v>69601</c:v>
                </c:pt>
                <c:pt idx="127">
                  <c:v>70060</c:v>
                </c:pt>
                <c:pt idx="128">
                  <c:v>70586</c:v>
                </c:pt>
                <c:pt idx="129">
                  <c:v>71117</c:v>
                </c:pt>
                <c:pt idx="130">
                  <c:v>71681</c:v>
                </c:pt>
                <c:pt idx="131">
                  <c:v>71905</c:v>
                </c:pt>
                <c:pt idx="132">
                  <c:v>72077</c:v>
                </c:pt>
                <c:pt idx="133">
                  <c:v>72553</c:v>
                </c:pt>
                <c:pt idx="134">
                  <c:v>72986</c:v>
                </c:pt>
                <c:pt idx="135">
                  <c:v>73463</c:v>
                </c:pt>
                <c:pt idx="136">
                  <c:v>74011</c:v>
                </c:pt>
                <c:pt idx="137">
                  <c:v>74522</c:v>
                </c:pt>
                <c:pt idx="138">
                  <c:v>74732</c:v>
                </c:pt>
                <c:pt idx="139">
                  <c:v>74884</c:v>
                </c:pt>
                <c:pt idx="140">
                  <c:v>75274</c:v>
                </c:pt>
                <c:pt idx="141">
                  <c:v>75692</c:v>
                </c:pt>
                <c:pt idx="142">
                  <c:v>76157</c:v>
                </c:pt>
                <c:pt idx="143">
                  <c:v>76603</c:v>
                </c:pt>
                <c:pt idx="144">
                  <c:v>77060</c:v>
                </c:pt>
                <c:pt idx="145">
                  <c:v>77238</c:v>
                </c:pt>
                <c:pt idx="146">
                  <c:v>77354</c:v>
                </c:pt>
                <c:pt idx="147">
                  <c:v>77643</c:v>
                </c:pt>
                <c:pt idx="148">
                  <c:v>77973</c:v>
                </c:pt>
                <c:pt idx="149">
                  <c:v>78385</c:v>
                </c:pt>
                <c:pt idx="150">
                  <c:v>78761</c:v>
                </c:pt>
                <c:pt idx="151">
                  <c:v>79200</c:v>
                </c:pt>
                <c:pt idx="152">
                  <c:v>79388</c:v>
                </c:pt>
                <c:pt idx="153">
                  <c:v>79556</c:v>
                </c:pt>
                <c:pt idx="154">
                  <c:v>79899</c:v>
                </c:pt>
                <c:pt idx="155">
                  <c:v>80272</c:v>
                </c:pt>
                <c:pt idx="156">
                  <c:v>80725</c:v>
                </c:pt>
                <c:pt idx="157">
                  <c:v>81142</c:v>
                </c:pt>
                <c:pt idx="158">
                  <c:v>81609</c:v>
                </c:pt>
                <c:pt idx="159">
                  <c:v>81871</c:v>
                </c:pt>
                <c:pt idx="160">
                  <c:v>82116</c:v>
                </c:pt>
                <c:pt idx="161">
                  <c:v>82595</c:v>
                </c:pt>
                <c:pt idx="162">
                  <c:v>83143</c:v>
                </c:pt>
                <c:pt idx="163">
                  <c:v>83633</c:v>
                </c:pt>
                <c:pt idx="164">
                  <c:v>84067</c:v>
                </c:pt>
                <c:pt idx="165">
                  <c:v>84532</c:v>
                </c:pt>
                <c:pt idx="166">
                  <c:v>84823</c:v>
                </c:pt>
                <c:pt idx="167">
                  <c:v>85051</c:v>
                </c:pt>
                <c:pt idx="168">
                  <c:v>85408</c:v>
                </c:pt>
                <c:pt idx="169">
                  <c:v>85844</c:v>
                </c:pt>
                <c:pt idx="170">
                  <c:v>86234</c:v>
                </c:pt>
                <c:pt idx="171">
                  <c:v>86603</c:v>
                </c:pt>
                <c:pt idx="172">
                  <c:v>86985</c:v>
                </c:pt>
                <c:pt idx="173">
                  <c:v>87174</c:v>
                </c:pt>
                <c:pt idx="174">
                  <c:v>87316</c:v>
                </c:pt>
                <c:pt idx="175">
                  <c:v>87615</c:v>
                </c:pt>
                <c:pt idx="176">
                  <c:v>87934</c:v>
                </c:pt>
                <c:pt idx="177">
                  <c:v>88191</c:v>
                </c:pt>
                <c:pt idx="178">
                  <c:v>88481</c:v>
                </c:pt>
                <c:pt idx="179">
                  <c:v>88741</c:v>
                </c:pt>
                <c:pt idx="180">
                  <c:v>88893</c:v>
                </c:pt>
                <c:pt idx="181">
                  <c:v>89006</c:v>
                </c:pt>
                <c:pt idx="182">
                  <c:v>89279</c:v>
                </c:pt>
                <c:pt idx="183">
                  <c:v>89528</c:v>
                </c:pt>
                <c:pt idx="184">
                  <c:v>89772</c:v>
                </c:pt>
                <c:pt idx="185">
                  <c:v>89951</c:v>
                </c:pt>
                <c:pt idx="186">
                  <c:v>90188</c:v>
                </c:pt>
                <c:pt idx="187">
                  <c:v>90240</c:v>
                </c:pt>
                <c:pt idx="188">
                  <c:v>90300</c:v>
                </c:pt>
                <c:pt idx="189">
                  <c:v>90358</c:v>
                </c:pt>
                <c:pt idx="190">
                  <c:v>90418</c:v>
                </c:pt>
                <c:pt idx="191">
                  <c:v>90628</c:v>
                </c:pt>
                <c:pt idx="192">
                  <c:v>90846</c:v>
                </c:pt>
                <c:pt idx="193">
                  <c:v>91071</c:v>
                </c:pt>
                <c:pt idx="194">
                  <c:v>91164</c:v>
                </c:pt>
                <c:pt idx="195">
                  <c:v>91222</c:v>
                </c:pt>
                <c:pt idx="196">
                  <c:v>91458</c:v>
                </c:pt>
                <c:pt idx="197">
                  <c:v>91678</c:v>
                </c:pt>
                <c:pt idx="198">
                  <c:v>91919</c:v>
                </c:pt>
                <c:pt idx="199">
                  <c:v>92167</c:v>
                </c:pt>
                <c:pt idx="200">
                  <c:v>92419</c:v>
                </c:pt>
                <c:pt idx="201">
                  <c:v>92529</c:v>
                </c:pt>
                <c:pt idx="202">
                  <c:v>92599</c:v>
                </c:pt>
                <c:pt idx="203">
                  <c:v>92803</c:v>
                </c:pt>
                <c:pt idx="204">
                  <c:v>92964</c:v>
                </c:pt>
                <c:pt idx="205">
                  <c:v>93185</c:v>
                </c:pt>
                <c:pt idx="206">
                  <c:v>93366</c:v>
                </c:pt>
                <c:pt idx="207">
                  <c:v>93579</c:v>
                </c:pt>
                <c:pt idx="208">
                  <c:v>93641</c:v>
                </c:pt>
                <c:pt idx="209">
                  <c:v>93696</c:v>
                </c:pt>
                <c:pt idx="210">
                  <c:v>93876</c:v>
                </c:pt>
                <c:pt idx="211">
                  <c:v>94075</c:v>
                </c:pt>
                <c:pt idx="212">
                  <c:v>94252</c:v>
                </c:pt>
                <c:pt idx="213">
                  <c:v>94412</c:v>
                </c:pt>
                <c:pt idx="214">
                  <c:v>94624</c:v>
                </c:pt>
                <c:pt idx="215">
                  <c:v>94690</c:v>
                </c:pt>
                <c:pt idx="216">
                  <c:v>94739</c:v>
                </c:pt>
                <c:pt idx="217">
                  <c:v>94886</c:v>
                </c:pt>
                <c:pt idx="218">
                  <c:v>95016</c:v>
                </c:pt>
                <c:pt idx="219">
                  <c:v>95161</c:v>
                </c:pt>
                <c:pt idx="220">
                  <c:v>95287</c:v>
                </c:pt>
                <c:pt idx="221">
                  <c:v>95416</c:v>
                </c:pt>
                <c:pt idx="222">
                  <c:v>95454</c:v>
                </c:pt>
                <c:pt idx="223">
                  <c:v>95488</c:v>
                </c:pt>
                <c:pt idx="224">
                  <c:v>95592</c:v>
                </c:pt>
                <c:pt idx="225">
                  <c:v>95708</c:v>
                </c:pt>
                <c:pt idx="226">
                  <c:v>95781</c:v>
                </c:pt>
                <c:pt idx="227">
                  <c:v>95886</c:v>
                </c:pt>
                <c:pt idx="228">
                  <c:v>95990</c:v>
                </c:pt>
                <c:pt idx="229">
                  <c:v>96016</c:v>
                </c:pt>
                <c:pt idx="230">
                  <c:v>96035</c:v>
                </c:pt>
                <c:pt idx="231">
                  <c:v>96117</c:v>
                </c:pt>
                <c:pt idx="232">
                  <c:v>96196</c:v>
                </c:pt>
                <c:pt idx="233">
                  <c:v>96279</c:v>
                </c:pt>
                <c:pt idx="234">
                  <c:v>96351</c:v>
                </c:pt>
                <c:pt idx="235">
                  <c:v>96450</c:v>
                </c:pt>
                <c:pt idx="236">
                  <c:v>96468</c:v>
                </c:pt>
                <c:pt idx="237">
                  <c:v>96487</c:v>
                </c:pt>
                <c:pt idx="238">
                  <c:v>96581</c:v>
                </c:pt>
                <c:pt idx="239">
                  <c:v>96656</c:v>
                </c:pt>
                <c:pt idx="240">
                  <c:v>96733</c:v>
                </c:pt>
                <c:pt idx="241">
                  <c:v>96796</c:v>
                </c:pt>
                <c:pt idx="242">
                  <c:v>96899</c:v>
                </c:pt>
                <c:pt idx="243">
                  <c:v>96925</c:v>
                </c:pt>
                <c:pt idx="244">
                  <c:v>96935</c:v>
                </c:pt>
                <c:pt idx="245">
                  <c:v>97014</c:v>
                </c:pt>
                <c:pt idx="246">
                  <c:v>97093</c:v>
                </c:pt>
                <c:pt idx="247">
                  <c:v>97141</c:v>
                </c:pt>
                <c:pt idx="248">
                  <c:v>97215</c:v>
                </c:pt>
                <c:pt idx="249">
                  <c:v>97308</c:v>
                </c:pt>
                <c:pt idx="250">
                  <c:v>97323</c:v>
                </c:pt>
                <c:pt idx="251">
                  <c:v>97341</c:v>
                </c:pt>
                <c:pt idx="252">
                  <c:v>97405</c:v>
                </c:pt>
                <c:pt idx="253">
                  <c:v>97440</c:v>
                </c:pt>
                <c:pt idx="254">
                  <c:v>97493</c:v>
                </c:pt>
                <c:pt idx="255">
                  <c:v>97552</c:v>
                </c:pt>
                <c:pt idx="256">
                  <c:v>97622</c:v>
                </c:pt>
                <c:pt idx="257">
                  <c:v>97638</c:v>
                </c:pt>
                <c:pt idx="258">
                  <c:v>97651</c:v>
                </c:pt>
                <c:pt idx="259">
                  <c:v>97699</c:v>
                </c:pt>
                <c:pt idx="260">
                  <c:v>97750</c:v>
                </c:pt>
                <c:pt idx="261">
                  <c:v>97793</c:v>
                </c:pt>
                <c:pt idx="262">
                  <c:v>97839</c:v>
                </c:pt>
                <c:pt idx="263">
                  <c:v>97911</c:v>
                </c:pt>
                <c:pt idx="264">
                  <c:v>97930</c:v>
                </c:pt>
                <c:pt idx="265">
                  <c:v>97936</c:v>
                </c:pt>
                <c:pt idx="266">
                  <c:v>97980</c:v>
                </c:pt>
                <c:pt idx="267">
                  <c:v>98027</c:v>
                </c:pt>
                <c:pt idx="268">
                  <c:v>98069</c:v>
                </c:pt>
                <c:pt idx="269">
                  <c:v>98127</c:v>
                </c:pt>
                <c:pt idx="270">
                  <c:v>98196</c:v>
                </c:pt>
                <c:pt idx="271">
                  <c:v>98212</c:v>
                </c:pt>
                <c:pt idx="272">
                  <c:v>98218</c:v>
                </c:pt>
                <c:pt idx="273">
                  <c:v>98260</c:v>
                </c:pt>
                <c:pt idx="274">
                  <c:v>98266</c:v>
                </c:pt>
                <c:pt idx="275">
                  <c:v>98293</c:v>
                </c:pt>
                <c:pt idx="276">
                  <c:v>98339</c:v>
                </c:pt>
                <c:pt idx="277">
                  <c:v>98377</c:v>
                </c:pt>
                <c:pt idx="278">
                  <c:v>98385</c:v>
                </c:pt>
                <c:pt idx="279">
                  <c:v>98392</c:v>
                </c:pt>
                <c:pt idx="280">
                  <c:v>98423</c:v>
                </c:pt>
                <c:pt idx="281">
                  <c:v>98452</c:v>
                </c:pt>
                <c:pt idx="282">
                  <c:v>98490</c:v>
                </c:pt>
                <c:pt idx="283">
                  <c:v>98514</c:v>
                </c:pt>
                <c:pt idx="284">
                  <c:v>98562</c:v>
                </c:pt>
                <c:pt idx="285">
                  <c:v>98571</c:v>
                </c:pt>
                <c:pt idx="286">
                  <c:v>98578</c:v>
                </c:pt>
                <c:pt idx="287">
                  <c:v>98606</c:v>
                </c:pt>
                <c:pt idx="288">
                  <c:v>98652</c:v>
                </c:pt>
                <c:pt idx="289">
                  <c:v>98689</c:v>
                </c:pt>
                <c:pt idx="290">
                  <c:v>98717</c:v>
                </c:pt>
                <c:pt idx="291">
                  <c:v>98775</c:v>
                </c:pt>
                <c:pt idx="292">
                  <c:v>98792</c:v>
                </c:pt>
                <c:pt idx="293">
                  <c:v>98803</c:v>
                </c:pt>
                <c:pt idx="294">
                  <c:v>98861</c:v>
                </c:pt>
                <c:pt idx="295">
                  <c:v>98893</c:v>
                </c:pt>
                <c:pt idx="296">
                  <c:v>98952</c:v>
                </c:pt>
                <c:pt idx="297">
                  <c:v>99052</c:v>
                </c:pt>
                <c:pt idx="298">
                  <c:v>99196</c:v>
                </c:pt>
                <c:pt idx="299">
                  <c:v>99246</c:v>
                </c:pt>
                <c:pt idx="300">
                  <c:v>99280</c:v>
                </c:pt>
                <c:pt idx="301">
                  <c:v>99397</c:v>
                </c:pt>
                <c:pt idx="302">
                  <c:v>99554</c:v>
                </c:pt>
                <c:pt idx="303">
                  <c:v>99724</c:v>
                </c:pt>
                <c:pt idx="304">
                  <c:v>99763</c:v>
                </c:pt>
                <c:pt idx="305">
                  <c:v>99944</c:v>
                </c:pt>
                <c:pt idx="306">
                  <c:v>99994</c:v>
                </c:pt>
                <c:pt idx="307">
                  <c:v>100029</c:v>
                </c:pt>
                <c:pt idx="308">
                  <c:v>100233</c:v>
                </c:pt>
                <c:pt idx="309">
                  <c:v>100411</c:v>
                </c:pt>
                <c:pt idx="310">
                  <c:v>100603</c:v>
                </c:pt>
                <c:pt idx="311">
                  <c:v>100812</c:v>
                </c:pt>
                <c:pt idx="312">
                  <c:v>101063</c:v>
                </c:pt>
                <c:pt idx="313">
                  <c:v>101136</c:v>
                </c:pt>
                <c:pt idx="314">
                  <c:v>101180</c:v>
                </c:pt>
                <c:pt idx="315">
                  <c:v>101364</c:v>
                </c:pt>
                <c:pt idx="316">
                  <c:v>101514</c:v>
                </c:pt>
                <c:pt idx="317">
                  <c:v>101678</c:v>
                </c:pt>
                <c:pt idx="318">
                  <c:v>101866</c:v>
                </c:pt>
                <c:pt idx="319">
                  <c:v>102132</c:v>
                </c:pt>
                <c:pt idx="320">
                  <c:v>102186</c:v>
                </c:pt>
                <c:pt idx="321">
                  <c:v>102224</c:v>
                </c:pt>
                <c:pt idx="322">
                  <c:v>102407</c:v>
                </c:pt>
                <c:pt idx="323">
                  <c:v>102619</c:v>
                </c:pt>
                <c:pt idx="324">
                  <c:v>102659</c:v>
                </c:pt>
                <c:pt idx="325">
                  <c:v>102899</c:v>
                </c:pt>
                <c:pt idx="326">
                  <c:v>103178</c:v>
                </c:pt>
                <c:pt idx="327">
                  <c:v>103257</c:v>
                </c:pt>
                <c:pt idx="328">
                  <c:v>103321</c:v>
                </c:pt>
                <c:pt idx="329">
                  <c:v>103508</c:v>
                </c:pt>
                <c:pt idx="330">
                  <c:v>103701</c:v>
                </c:pt>
                <c:pt idx="331">
                  <c:v>103902</c:v>
                </c:pt>
                <c:pt idx="332">
                  <c:v>104114</c:v>
                </c:pt>
                <c:pt idx="333">
                  <c:v>104334</c:v>
                </c:pt>
                <c:pt idx="334">
                  <c:v>104412</c:v>
                </c:pt>
                <c:pt idx="335">
                  <c:v>104434</c:v>
                </c:pt>
                <c:pt idx="336">
                  <c:v>104604</c:v>
                </c:pt>
                <c:pt idx="337">
                  <c:v>104750</c:v>
                </c:pt>
                <c:pt idx="338">
                  <c:v>104911</c:v>
                </c:pt>
                <c:pt idx="339">
                  <c:v>105024</c:v>
                </c:pt>
                <c:pt idx="340">
                  <c:v>105142</c:v>
                </c:pt>
                <c:pt idx="341">
                  <c:v>105164</c:v>
                </c:pt>
                <c:pt idx="342">
                  <c:v>105172</c:v>
                </c:pt>
                <c:pt idx="343">
                  <c:v>105244</c:v>
                </c:pt>
                <c:pt idx="344">
                  <c:v>105321</c:v>
                </c:pt>
                <c:pt idx="345">
                  <c:v>105410</c:v>
                </c:pt>
                <c:pt idx="346">
                  <c:v>105484</c:v>
                </c:pt>
                <c:pt idx="347">
                  <c:v>105570</c:v>
                </c:pt>
                <c:pt idx="348">
                  <c:v>105589</c:v>
                </c:pt>
                <c:pt idx="349">
                  <c:v>105602</c:v>
                </c:pt>
                <c:pt idx="350">
                  <c:v>105678</c:v>
                </c:pt>
                <c:pt idx="351">
                  <c:v>105751</c:v>
                </c:pt>
                <c:pt idx="352">
                  <c:v>105796</c:v>
                </c:pt>
                <c:pt idx="353">
                  <c:v>105869</c:v>
                </c:pt>
                <c:pt idx="354">
                  <c:v>105959</c:v>
                </c:pt>
                <c:pt idx="355">
                  <c:v>105985</c:v>
                </c:pt>
                <c:pt idx="356">
                  <c:v>105993</c:v>
                </c:pt>
                <c:pt idx="357">
                  <c:v>106049</c:v>
                </c:pt>
                <c:pt idx="358">
                  <c:v>106107</c:v>
                </c:pt>
                <c:pt idx="359">
                  <c:v>106148</c:v>
                </c:pt>
                <c:pt idx="360">
                  <c:v>106158</c:v>
                </c:pt>
                <c:pt idx="361">
                  <c:v>106185</c:v>
                </c:pt>
                <c:pt idx="362">
                  <c:v>106214</c:v>
                </c:pt>
                <c:pt idx="363">
                  <c:v>106241</c:v>
                </c:pt>
                <c:pt idx="364">
                  <c:v>106274</c:v>
                </c:pt>
                <c:pt idx="365">
                  <c:v>106276</c:v>
                </c:pt>
                <c:pt idx="366">
                  <c:v>106280</c:v>
                </c:pt>
                <c:pt idx="367">
                  <c:v>106310</c:v>
                </c:pt>
                <c:pt idx="368">
                  <c:v>106353</c:v>
                </c:pt>
                <c:pt idx="369">
                  <c:v>106386</c:v>
                </c:pt>
                <c:pt idx="370">
                  <c:v>106436</c:v>
                </c:pt>
                <c:pt idx="371">
                  <c:v>1065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J$1:$NQ$1</c:f>
              <c:strCache>
                <c:ptCount val="372"/>
                <c:pt idx="0">
                  <c:v>28.XII.20</c:v>
                </c:pt>
                <c:pt idx="1">
                  <c:v>29.XII.20</c:v>
                </c:pt>
                <c:pt idx="2">
                  <c:v>30.XII.20</c:v>
                </c:pt>
                <c:pt idx="3">
                  <c:v>31.XII.20</c:v>
                </c:pt>
                <c:pt idx="4">
                  <c:v>1.I.21</c:v>
                </c:pt>
                <c:pt idx="5">
                  <c:v>2.I.21</c:v>
                </c:pt>
                <c:pt idx="6">
                  <c:v>3.I.21</c:v>
                </c:pt>
                <c:pt idx="7">
                  <c:v>4.I.21</c:v>
                </c:pt>
                <c:pt idx="8">
                  <c:v>5.I.21</c:v>
                </c:pt>
                <c:pt idx="9">
                  <c:v>6.I.21</c:v>
                </c:pt>
                <c:pt idx="10">
                  <c:v>7.I.21</c:v>
                </c:pt>
                <c:pt idx="11">
                  <c:v>8.I.21</c:v>
                </c:pt>
                <c:pt idx="12">
                  <c:v>9.I.21</c:v>
                </c:pt>
                <c:pt idx="13">
                  <c:v>10.I.21</c:v>
                </c:pt>
                <c:pt idx="14">
                  <c:v>11.I.21</c:v>
                </c:pt>
                <c:pt idx="15">
                  <c:v>12.I.21</c:v>
                </c:pt>
                <c:pt idx="16">
                  <c:v>13.I.21</c:v>
                </c:pt>
                <c:pt idx="17">
                  <c:v>14.I.21</c:v>
                </c:pt>
                <c:pt idx="18">
                  <c:v>15.I.21</c:v>
                </c:pt>
                <c:pt idx="19">
                  <c:v>16.I.21</c:v>
                </c:pt>
                <c:pt idx="20">
                  <c:v>17.I.21</c:v>
                </c:pt>
                <c:pt idx="21">
                  <c:v>18.I.21</c:v>
                </c:pt>
                <c:pt idx="22">
                  <c:v>19.I.21</c:v>
                </c:pt>
                <c:pt idx="23">
                  <c:v>20.I.21</c:v>
                </c:pt>
                <c:pt idx="24">
                  <c:v>21.I.21</c:v>
                </c:pt>
                <c:pt idx="25">
                  <c:v>22.I.21</c:v>
                </c:pt>
                <c:pt idx="26">
                  <c:v>23.I.21</c:v>
                </c:pt>
                <c:pt idx="27">
                  <c:v>24.I.21</c:v>
                </c:pt>
                <c:pt idx="28">
                  <c:v>25.I.21</c:v>
                </c:pt>
                <c:pt idx="29">
                  <c:v>26.I.21</c:v>
                </c:pt>
                <c:pt idx="30">
                  <c:v>27.I.21</c:v>
                </c:pt>
                <c:pt idx="31">
                  <c:v>28.I.21</c:v>
                </c:pt>
                <c:pt idx="32">
                  <c:v>29.I.21</c:v>
                </c:pt>
                <c:pt idx="33">
                  <c:v>30.I.21</c:v>
                </c:pt>
                <c:pt idx="34">
                  <c:v>31.I.21</c:v>
                </c:pt>
                <c:pt idx="35">
                  <c:v>1.II.21</c:v>
                </c:pt>
                <c:pt idx="36">
                  <c:v>2.II.21</c:v>
                </c:pt>
                <c:pt idx="37">
                  <c:v>3.II.21</c:v>
                </c:pt>
                <c:pt idx="38">
                  <c:v>4.II.21</c:v>
                </c:pt>
                <c:pt idx="39">
                  <c:v>5.II.21</c:v>
                </c:pt>
                <c:pt idx="40">
                  <c:v>6.II.21</c:v>
                </c:pt>
                <c:pt idx="41">
                  <c:v>7.II.21</c:v>
                </c:pt>
                <c:pt idx="42">
                  <c:v>8.II.21</c:v>
                </c:pt>
                <c:pt idx="43">
                  <c:v>9.II.21</c:v>
                </c:pt>
                <c:pt idx="44">
                  <c:v>10.II.21</c:v>
                </c:pt>
                <c:pt idx="45">
                  <c:v>11.II.21</c:v>
                </c:pt>
                <c:pt idx="46">
                  <c:v>12.II.21</c:v>
                </c:pt>
                <c:pt idx="47">
                  <c:v>13.II.21</c:v>
                </c:pt>
                <c:pt idx="48">
                  <c:v>14.II.21</c:v>
                </c:pt>
                <c:pt idx="49">
                  <c:v>15.II.21</c:v>
                </c:pt>
                <c:pt idx="50">
                  <c:v>16.II.21</c:v>
                </c:pt>
                <c:pt idx="51">
                  <c:v>17.II.21</c:v>
                </c:pt>
                <c:pt idx="52">
                  <c:v>18.II.21</c:v>
                </c:pt>
                <c:pt idx="53">
                  <c:v>19.II.21</c:v>
                </c:pt>
                <c:pt idx="54">
                  <c:v>20.II.21</c:v>
                </c:pt>
                <c:pt idx="55">
                  <c:v>21.II.21</c:v>
                </c:pt>
                <c:pt idx="56">
                  <c:v>22.II.21</c:v>
                </c:pt>
                <c:pt idx="57">
                  <c:v>23.II.21</c:v>
                </c:pt>
                <c:pt idx="58">
                  <c:v>24.II.21</c:v>
                </c:pt>
                <c:pt idx="59">
                  <c:v>25.II.21</c:v>
                </c:pt>
                <c:pt idx="60">
                  <c:v>26.II.21</c:v>
                </c:pt>
                <c:pt idx="61">
                  <c:v>27.II.21</c:v>
                </c:pt>
                <c:pt idx="62">
                  <c:v>28.II.21</c:v>
                </c:pt>
                <c:pt idx="63">
                  <c:v>1.III.21</c:v>
                </c:pt>
                <c:pt idx="64">
                  <c:v>2.III.21</c:v>
                </c:pt>
                <c:pt idx="65">
                  <c:v>3.III.21</c:v>
                </c:pt>
                <c:pt idx="66">
                  <c:v>4.III.21</c:v>
                </c:pt>
                <c:pt idx="67">
                  <c:v>5.III.21</c:v>
                </c:pt>
                <c:pt idx="68">
                  <c:v>6.III.21</c:v>
                </c:pt>
                <c:pt idx="69">
                  <c:v>7.III.21</c:v>
                </c:pt>
                <c:pt idx="70">
                  <c:v>8.III.21</c:v>
                </c:pt>
                <c:pt idx="71">
                  <c:v>9.III.21</c:v>
                </c:pt>
                <c:pt idx="72">
                  <c:v>10.III.21</c:v>
                </c:pt>
                <c:pt idx="73">
                  <c:v>11.III.21</c:v>
                </c:pt>
                <c:pt idx="74">
                  <c:v>12.III.21</c:v>
                </c:pt>
                <c:pt idx="75">
                  <c:v>13.III.21</c:v>
                </c:pt>
                <c:pt idx="76">
                  <c:v>14.III.21</c:v>
                </c:pt>
                <c:pt idx="77">
                  <c:v>15.III.21</c:v>
                </c:pt>
                <c:pt idx="78">
                  <c:v>16.III.21</c:v>
                </c:pt>
                <c:pt idx="79">
                  <c:v>17.III.21</c:v>
                </c:pt>
                <c:pt idx="80">
                  <c:v>18.III.21</c:v>
                </c:pt>
                <c:pt idx="81">
                  <c:v>19.III.21</c:v>
                </c:pt>
                <c:pt idx="82">
                  <c:v>20.III.21</c:v>
                </c:pt>
                <c:pt idx="83">
                  <c:v>21.III.21</c:v>
                </c:pt>
                <c:pt idx="84">
                  <c:v>22.III.21</c:v>
                </c:pt>
                <c:pt idx="85">
                  <c:v>23.III.21</c:v>
                </c:pt>
                <c:pt idx="86">
                  <c:v>24.III.21</c:v>
                </c:pt>
                <c:pt idx="87">
                  <c:v>25.III.21</c:v>
                </c:pt>
                <c:pt idx="88">
                  <c:v>26.III.21</c:v>
                </c:pt>
                <c:pt idx="89">
                  <c:v>27.III.21</c:v>
                </c:pt>
                <c:pt idx="90">
                  <c:v>28.III.21</c:v>
                </c:pt>
                <c:pt idx="91">
                  <c:v>29.III.21</c:v>
                </c:pt>
                <c:pt idx="92">
                  <c:v>30.III.21</c:v>
                </c:pt>
                <c:pt idx="93">
                  <c:v>31.III.21</c:v>
                </c:pt>
                <c:pt idx="94">
                  <c:v>1.IV.21</c:v>
                </c:pt>
                <c:pt idx="95">
                  <c:v>2.IV.21</c:v>
                </c:pt>
                <c:pt idx="96">
                  <c:v>3.IV.21</c:v>
                </c:pt>
                <c:pt idx="97">
                  <c:v>4.IV.21</c:v>
                </c:pt>
                <c:pt idx="98">
                  <c:v>5.IV.21</c:v>
                </c:pt>
                <c:pt idx="99">
                  <c:v>6.IV.21</c:v>
                </c:pt>
                <c:pt idx="100">
                  <c:v>7.IV.21</c:v>
                </c:pt>
                <c:pt idx="101">
                  <c:v>8.IV.21</c:v>
                </c:pt>
                <c:pt idx="102">
                  <c:v>9.IV.21</c:v>
                </c:pt>
                <c:pt idx="103">
                  <c:v>10.IV.21</c:v>
                </c:pt>
                <c:pt idx="104">
                  <c:v>11.IV.21</c:v>
                </c:pt>
                <c:pt idx="105">
                  <c:v>12.IV.21</c:v>
                </c:pt>
                <c:pt idx="106">
                  <c:v>13.IV.21</c:v>
                </c:pt>
                <c:pt idx="107">
                  <c:v>14.IV.21</c:v>
                </c:pt>
                <c:pt idx="108">
                  <c:v>15.IV.21</c:v>
                </c:pt>
                <c:pt idx="109">
                  <c:v>16.IV.21</c:v>
                </c:pt>
                <c:pt idx="110">
                  <c:v>17.IV.21</c:v>
                </c:pt>
                <c:pt idx="111">
                  <c:v>18.IV.21</c:v>
                </c:pt>
                <c:pt idx="112">
                  <c:v>19.IV.21</c:v>
                </c:pt>
                <c:pt idx="113">
                  <c:v>20.IV.21</c:v>
                </c:pt>
                <c:pt idx="114">
                  <c:v>21.IV.21</c:v>
                </c:pt>
                <c:pt idx="115">
                  <c:v>22.IV.21</c:v>
                </c:pt>
                <c:pt idx="116">
                  <c:v>23.IV.21</c:v>
                </c:pt>
                <c:pt idx="117">
                  <c:v>24.IV.21</c:v>
                </c:pt>
                <c:pt idx="118">
                  <c:v>25.IV.21</c:v>
                </c:pt>
                <c:pt idx="119">
                  <c:v>26.IV.21</c:v>
                </c:pt>
                <c:pt idx="120">
                  <c:v>27.IV.21</c:v>
                </c:pt>
                <c:pt idx="121">
                  <c:v>28.IV.21</c:v>
                </c:pt>
                <c:pt idx="122">
                  <c:v>29.IV.21</c:v>
                </c:pt>
                <c:pt idx="123">
                  <c:v>30.IV.21</c:v>
                </c:pt>
                <c:pt idx="124">
                  <c:v>1.V.21</c:v>
                </c:pt>
                <c:pt idx="125">
                  <c:v>2.V.21</c:v>
                </c:pt>
                <c:pt idx="126">
                  <c:v>3.V.21</c:v>
                </c:pt>
                <c:pt idx="127">
                  <c:v>4.V.21</c:v>
                </c:pt>
                <c:pt idx="128">
                  <c:v>5.V.21</c:v>
                </c:pt>
                <c:pt idx="129">
                  <c:v>6.V.21</c:v>
                </c:pt>
                <c:pt idx="130">
                  <c:v>7.V.21</c:v>
                </c:pt>
                <c:pt idx="131">
                  <c:v>8.V.21</c:v>
                </c:pt>
                <c:pt idx="132">
                  <c:v>9.V.21</c:v>
                </c:pt>
                <c:pt idx="133">
                  <c:v>10.V.21</c:v>
                </c:pt>
                <c:pt idx="134">
                  <c:v>11.V.21</c:v>
                </c:pt>
                <c:pt idx="135">
                  <c:v>12.V.21</c:v>
                </c:pt>
                <c:pt idx="136">
                  <c:v>13.V.21</c:v>
                </c:pt>
                <c:pt idx="137">
                  <c:v>14.V.21</c:v>
                </c:pt>
                <c:pt idx="138">
                  <c:v>15.V.21</c:v>
                </c:pt>
                <c:pt idx="139">
                  <c:v>16.V.21</c:v>
                </c:pt>
                <c:pt idx="140">
                  <c:v>17.V.21</c:v>
                </c:pt>
                <c:pt idx="141">
                  <c:v>18.V.21</c:v>
                </c:pt>
                <c:pt idx="142">
                  <c:v>19.V.21</c:v>
                </c:pt>
                <c:pt idx="143">
                  <c:v>20.V.21</c:v>
                </c:pt>
                <c:pt idx="144">
                  <c:v>21.V.21</c:v>
                </c:pt>
                <c:pt idx="145">
                  <c:v>22.V.21</c:v>
                </c:pt>
                <c:pt idx="146">
                  <c:v>23.V.21</c:v>
                </c:pt>
                <c:pt idx="147">
                  <c:v>24.V.21</c:v>
                </c:pt>
                <c:pt idx="148">
                  <c:v>25.V.21</c:v>
                </c:pt>
                <c:pt idx="149">
                  <c:v>26.V.21</c:v>
                </c:pt>
                <c:pt idx="150">
                  <c:v>27.V.21</c:v>
                </c:pt>
                <c:pt idx="151">
                  <c:v>28.V.21</c:v>
                </c:pt>
                <c:pt idx="152">
                  <c:v>29.V.21</c:v>
                </c:pt>
                <c:pt idx="153">
                  <c:v>30.V.21</c:v>
                </c:pt>
                <c:pt idx="154">
                  <c:v>31.V.21</c:v>
                </c:pt>
                <c:pt idx="155">
                  <c:v>1.VI.21</c:v>
                </c:pt>
                <c:pt idx="156">
                  <c:v>2.VI.21</c:v>
                </c:pt>
                <c:pt idx="157">
                  <c:v>3.VI.21</c:v>
                </c:pt>
                <c:pt idx="158">
                  <c:v>4.VI.21</c:v>
                </c:pt>
                <c:pt idx="159">
                  <c:v>5.VI.21</c:v>
                </c:pt>
                <c:pt idx="160">
                  <c:v>6.VI.21</c:v>
                </c:pt>
                <c:pt idx="161">
                  <c:v>7.VI.21</c:v>
                </c:pt>
                <c:pt idx="162">
                  <c:v>8.VI.21</c:v>
                </c:pt>
                <c:pt idx="163">
                  <c:v>9.VI.21</c:v>
                </c:pt>
                <c:pt idx="164">
                  <c:v>10.VI.21</c:v>
                </c:pt>
                <c:pt idx="165">
                  <c:v>11.VI.21</c:v>
                </c:pt>
                <c:pt idx="166">
                  <c:v>12.VI.21</c:v>
                </c:pt>
                <c:pt idx="167">
                  <c:v>13.VI.21</c:v>
                </c:pt>
                <c:pt idx="168">
                  <c:v>14.VI.21</c:v>
                </c:pt>
                <c:pt idx="169">
                  <c:v>15.VI.21</c:v>
                </c:pt>
                <c:pt idx="170">
                  <c:v>16.VI.21</c:v>
                </c:pt>
                <c:pt idx="171">
                  <c:v>17.VI.21</c:v>
                </c:pt>
                <c:pt idx="172">
                  <c:v>18.VI.21</c:v>
                </c:pt>
                <c:pt idx="173">
                  <c:v>19.VI.21</c:v>
                </c:pt>
                <c:pt idx="174">
                  <c:v>20.VI.21</c:v>
                </c:pt>
                <c:pt idx="175">
                  <c:v>21.VI.21</c:v>
                </c:pt>
                <c:pt idx="176">
                  <c:v>22.VI.21</c:v>
                </c:pt>
                <c:pt idx="177">
                  <c:v>23.VI.21</c:v>
                </c:pt>
                <c:pt idx="178">
                  <c:v>24.VI.21</c:v>
                </c:pt>
                <c:pt idx="179">
                  <c:v>25.VI.21</c:v>
                </c:pt>
                <c:pt idx="180">
                  <c:v>26.VI.21</c:v>
                </c:pt>
                <c:pt idx="181">
                  <c:v>27.VI.21</c:v>
                </c:pt>
                <c:pt idx="182">
                  <c:v>28.VI.21</c:v>
                </c:pt>
                <c:pt idx="183">
                  <c:v>29.VI.21</c:v>
                </c:pt>
                <c:pt idx="184">
                  <c:v>30.VI.21</c:v>
                </c:pt>
                <c:pt idx="185">
                  <c:v>1.VII.21</c:v>
                </c:pt>
                <c:pt idx="186">
                  <c:v>2.VII.21</c:v>
                </c:pt>
                <c:pt idx="187">
                  <c:v>3.VII.21</c:v>
                </c:pt>
                <c:pt idx="188">
                  <c:v>4.VII.21</c:v>
                </c:pt>
                <c:pt idx="189">
                  <c:v>5.VII.21</c:v>
                </c:pt>
                <c:pt idx="190">
                  <c:v>6.VII.21</c:v>
                </c:pt>
                <c:pt idx="191">
                  <c:v>7.VII.21</c:v>
                </c:pt>
                <c:pt idx="192">
                  <c:v>8.VII.21</c:v>
                </c:pt>
                <c:pt idx="193">
                  <c:v>9.VII.21</c:v>
                </c:pt>
                <c:pt idx="194">
                  <c:v>10.VII.21</c:v>
                </c:pt>
                <c:pt idx="195">
                  <c:v>11.VII.21</c:v>
                </c:pt>
                <c:pt idx="196">
                  <c:v>12.VII.21</c:v>
                </c:pt>
                <c:pt idx="197">
                  <c:v>13.VII.21</c:v>
                </c:pt>
                <c:pt idx="198">
                  <c:v>14.VII.21</c:v>
                </c:pt>
                <c:pt idx="199">
                  <c:v>15.VII.21</c:v>
                </c:pt>
                <c:pt idx="200">
                  <c:v>16.VII.21</c:v>
                </c:pt>
                <c:pt idx="201">
                  <c:v>17.VII.21</c:v>
                </c:pt>
                <c:pt idx="202">
                  <c:v>18.VII.21</c:v>
                </c:pt>
                <c:pt idx="203">
                  <c:v>19.VII.21</c:v>
                </c:pt>
                <c:pt idx="204">
                  <c:v>20.VII.21</c:v>
                </c:pt>
                <c:pt idx="205">
                  <c:v>21.VII.21</c:v>
                </c:pt>
                <c:pt idx="206">
                  <c:v>22.VII.21</c:v>
                </c:pt>
                <c:pt idx="207">
                  <c:v>23.VII.21</c:v>
                </c:pt>
                <c:pt idx="208">
                  <c:v>24.VII.21</c:v>
                </c:pt>
                <c:pt idx="209">
                  <c:v>25.VII.21</c:v>
                </c:pt>
                <c:pt idx="210">
                  <c:v>26.VII.21</c:v>
                </c:pt>
                <c:pt idx="211">
                  <c:v>27.VII.21</c:v>
                </c:pt>
                <c:pt idx="212">
                  <c:v>28.VII.21</c:v>
                </c:pt>
                <c:pt idx="213">
                  <c:v>29.VII.21</c:v>
                </c:pt>
                <c:pt idx="214">
                  <c:v>30.VII.21</c:v>
                </c:pt>
                <c:pt idx="215">
                  <c:v>31.VII.21</c:v>
                </c:pt>
                <c:pt idx="216">
                  <c:v>1.VIII.21</c:v>
                </c:pt>
                <c:pt idx="217">
                  <c:v>2.VIII.21</c:v>
                </c:pt>
                <c:pt idx="218">
                  <c:v>3.VIII.21</c:v>
                </c:pt>
                <c:pt idx="219">
                  <c:v>4.VIII.21</c:v>
                </c:pt>
                <c:pt idx="220">
                  <c:v>5.VIII.21</c:v>
                </c:pt>
                <c:pt idx="221">
                  <c:v>6.VIII.21</c:v>
                </c:pt>
                <c:pt idx="222">
                  <c:v>7.VIII.21</c:v>
                </c:pt>
                <c:pt idx="223">
                  <c:v>8.VIII.21</c:v>
                </c:pt>
                <c:pt idx="224">
                  <c:v>9.VIII.21</c:v>
                </c:pt>
                <c:pt idx="225">
                  <c:v>10.VIII.21</c:v>
                </c:pt>
                <c:pt idx="226">
                  <c:v>11.VIII.21</c:v>
                </c:pt>
                <c:pt idx="227">
                  <c:v>12.VIII.21</c:v>
                </c:pt>
                <c:pt idx="228">
                  <c:v>13.VIII.21</c:v>
                </c:pt>
                <c:pt idx="229">
                  <c:v>14.VIII.21</c:v>
                </c:pt>
                <c:pt idx="230">
                  <c:v>15.VIII.21</c:v>
                </c:pt>
                <c:pt idx="231">
                  <c:v>16.VIII.21</c:v>
                </c:pt>
                <c:pt idx="232">
                  <c:v>17.VIII.21</c:v>
                </c:pt>
                <c:pt idx="233">
                  <c:v>18.VIII.21</c:v>
                </c:pt>
                <c:pt idx="234">
                  <c:v>19.VIII.21</c:v>
                </c:pt>
                <c:pt idx="235">
                  <c:v>20.VIII.21</c:v>
                </c:pt>
                <c:pt idx="236">
                  <c:v>21.VIII.21</c:v>
                </c:pt>
                <c:pt idx="237">
                  <c:v>22.VIII.21</c:v>
                </c:pt>
                <c:pt idx="238">
                  <c:v>23.VIII.21</c:v>
                </c:pt>
                <c:pt idx="239">
                  <c:v>24.VIII.21</c:v>
                </c:pt>
                <c:pt idx="240">
                  <c:v>25.VIII.21</c:v>
                </c:pt>
                <c:pt idx="241">
                  <c:v>26.VIII.21</c:v>
                </c:pt>
                <c:pt idx="242">
                  <c:v>27.VIII.21</c:v>
                </c:pt>
                <c:pt idx="243">
                  <c:v>28.VIII.21</c:v>
                </c:pt>
                <c:pt idx="244">
                  <c:v>29.VIII.21</c:v>
                </c:pt>
                <c:pt idx="245">
                  <c:v>30.VIII.21</c:v>
                </c:pt>
                <c:pt idx="246">
                  <c:v>31.VIII.21</c:v>
                </c:pt>
                <c:pt idx="247">
                  <c:v>1.IX.21</c:v>
                </c:pt>
                <c:pt idx="248">
                  <c:v>2.IX.21</c:v>
                </c:pt>
                <c:pt idx="249">
                  <c:v>3.IX.21</c:v>
                </c:pt>
                <c:pt idx="250">
                  <c:v>4.IX.21</c:v>
                </c:pt>
                <c:pt idx="251">
                  <c:v>5.IX.21</c:v>
                </c:pt>
                <c:pt idx="252">
                  <c:v>6.IX.21</c:v>
                </c:pt>
                <c:pt idx="253">
                  <c:v>7.IX.21</c:v>
                </c:pt>
                <c:pt idx="254">
                  <c:v>8.IX.21</c:v>
                </c:pt>
                <c:pt idx="255">
                  <c:v>9.IX.21</c:v>
                </c:pt>
                <c:pt idx="256">
                  <c:v>10.IX.21</c:v>
                </c:pt>
                <c:pt idx="257">
                  <c:v>11.IX.21</c:v>
                </c:pt>
                <c:pt idx="258">
                  <c:v>12.IX.21</c:v>
                </c:pt>
                <c:pt idx="259">
                  <c:v>13.IX.21</c:v>
                </c:pt>
                <c:pt idx="260">
                  <c:v>14.IX.21</c:v>
                </c:pt>
                <c:pt idx="261">
                  <c:v>15.IX.21</c:v>
                </c:pt>
                <c:pt idx="262">
                  <c:v>16.IX.21</c:v>
                </c:pt>
                <c:pt idx="263">
                  <c:v>17.IX.21</c:v>
                </c:pt>
                <c:pt idx="264">
                  <c:v>18.IX.21</c:v>
                </c:pt>
                <c:pt idx="265">
                  <c:v>19.IX.21</c:v>
                </c:pt>
                <c:pt idx="266">
                  <c:v>20.IX.21</c:v>
                </c:pt>
                <c:pt idx="267">
                  <c:v>21.IX.21</c:v>
                </c:pt>
                <c:pt idx="268">
                  <c:v>22.IX.21</c:v>
                </c:pt>
                <c:pt idx="269">
                  <c:v>23.IX.21</c:v>
                </c:pt>
                <c:pt idx="270">
                  <c:v>24.IX.21</c:v>
                </c:pt>
                <c:pt idx="271">
                  <c:v>25.IX.21</c:v>
                </c:pt>
                <c:pt idx="272">
                  <c:v>26.IX.21</c:v>
                </c:pt>
                <c:pt idx="273">
                  <c:v>27.IX.21</c:v>
                </c:pt>
                <c:pt idx="274">
                  <c:v>28.IX.21</c:v>
                </c:pt>
                <c:pt idx="275">
                  <c:v>29.IX.21</c:v>
                </c:pt>
                <c:pt idx="276">
                  <c:v>30.IX.21</c:v>
                </c:pt>
                <c:pt idx="277">
                  <c:v>1.X.21</c:v>
                </c:pt>
                <c:pt idx="278">
                  <c:v>2.X.21</c:v>
                </c:pt>
                <c:pt idx="279">
                  <c:v>3.X.21</c:v>
                </c:pt>
                <c:pt idx="280">
                  <c:v>4.X.21</c:v>
                </c:pt>
                <c:pt idx="281">
                  <c:v>5.X.21</c:v>
                </c:pt>
                <c:pt idx="282">
                  <c:v>6.X.21</c:v>
                </c:pt>
                <c:pt idx="283">
                  <c:v>7.X.21</c:v>
                </c:pt>
                <c:pt idx="284">
                  <c:v>8.X.21</c:v>
                </c:pt>
                <c:pt idx="285">
                  <c:v>9.X.21</c:v>
                </c:pt>
                <c:pt idx="286">
                  <c:v>10.X.21</c:v>
                </c:pt>
                <c:pt idx="287">
                  <c:v>11.X.21</c:v>
                </c:pt>
                <c:pt idx="288">
                  <c:v>12.X.21</c:v>
                </c:pt>
                <c:pt idx="289">
                  <c:v>13.X.21</c:v>
                </c:pt>
                <c:pt idx="290">
                  <c:v>14.X.21</c:v>
                </c:pt>
                <c:pt idx="291">
                  <c:v>15.X.21</c:v>
                </c:pt>
                <c:pt idx="292">
                  <c:v>16.X.21</c:v>
                </c:pt>
                <c:pt idx="293">
                  <c:v>17.X.21</c:v>
                </c:pt>
                <c:pt idx="294">
                  <c:v>18.X.21</c:v>
                </c:pt>
                <c:pt idx="295">
                  <c:v>19.X.21</c:v>
                </c:pt>
                <c:pt idx="296">
                  <c:v>20.X.21</c:v>
                </c:pt>
                <c:pt idx="297">
                  <c:v>21.X.21</c:v>
                </c:pt>
                <c:pt idx="298">
                  <c:v>22.X.21</c:v>
                </c:pt>
                <c:pt idx="299">
                  <c:v>23.X.21</c:v>
                </c:pt>
                <c:pt idx="300">
                  <c:v>24.X.21</c:v>
                </c:pt>
                <c:pt idx="301">
                  <c:v>25.X.21</c:v>
                </c:pt>
                <c:pt idx="302">
                  <c:v>26.X.21</c:v>
                </c:pt>
                <c:pt idx="303">
                  <c:v>27.X.21</c:v>
                </c:pt>
                <c:pt idx="304">
                  <c:v>28.X.21</c:v>
                </c:pt>
                <c:pt idx="305">
                  <c:v>29.X.21</c:v>
                </c:pt>
                <c:pt idx="306">
                  <c:v>30.X.21</c:v>
                </c:pt>
                <c:pt idx="307">
                  <c:v>31.X.21</c:v>
                </c:pt>
                <c:pt idx="308">
                  <c:v>1.XI.21</c:v>
                </c:pt>
                <c:pt idx="309">
                  <c:v>2.XI.21</c:v>
                </c:pt>
                <c:pt idx="310">
                  <c:v>3.XI.21</c:v>
                </c:pt>
                <c:pt idx="311">
                  <c:v>4.XI.21</c:v>
                </c:pt>
                <c:pt idx="312">
                  <c:v>5.XI.21</c:v>
                </c:pt>
                <c:pt idx="313">
                  <c:v>6.XI.21</c:v>
                </c:pt>
                <c:pt idx="314">
                  <c:v>7.XI.21</c:v>
                </c:pt>
                <c:pt idx="315">
                  <c:v>8.XI.21</c:v>
                </c:pt>
                <c:pt idx="316">
                  <c:v>9.XI.21</c:v>
                </c:pt>
                <c:pt idx="317">
                  <c:v>10.XI.21</c:v>
                </c:pt>
                <c:pt idx="318">
                  <c:v>11.XI.21</c:v>
                </c:pt>
                <c:pt idx="319">
                  <c:v>12.XI.21</c:v>
                </c:pt>
                <c:pt idx="320">
                  <c:v>13.XI.21</c:v>
                </c:pt>
                <c:pt idx="321">
                  <c:v>14.XI.21</c:v>
                </c:pt>
                <c:pt idx="322">
                  <c:v>15.XI.21</c:v>
                </c:pt>
                <c:pt idx="323">
                  <c:v>16.XI.21</c:v>
                </c:pt>
                <c:pt idx="324">
                  <c:v>17.XI.21</c:v>
                </c:pt>
                <c:pt idx="325">
                  <c:v>18.XI.21</c:v>
                </c:pt>
                <c:pt idx="326">
                  <c:v>19.XI.21</c:v>
                </c:pt>
                <c:pt idx="327">
                  <c:v>20.XI.21</c:v>
                </c:pt>
                <c:pt idx="328">
                  <c:v>21.XI.21</c:v>
                </c:pt>
                <c:pt idx="329">
                  <c:v>22.XI.21</c:v>
                </c:pt>
                <c:pt idx="330">
                  <c:v>23.XI.21</c:v>
                </c:pt>
                <c:pt idx="331">
                  <c:v>24.XI.21</c:v>
                </c:pt>
                <c:pt idx="332">
                  <c:v>25.XI.21</c:v>
                </c:pt>
                <c:pt idx="333">
                  <c:v>26.XI.21</c:v>
                </c:pt>
                <c:pt idx="334">
                  <c:v>27.XI.21</c:v>
                </c:pt>
                <c:pt idx="335">
                  <c:v>28.XI.21</c:v>
                </c:pt>
                <c:pt idx="336">
                  <c:v>29.XI.21</c:v>
                </c:pt>
                <c:pt idx="337">
                  <c:v>30.XI.21</c:v>
                </c:pt>
                <c:pt idx="338">
                  <c:v>1.XII.21</c:v>
                </c:pt>
                <c:pt idx="339">
                  <c:v>2.XII.21</c:v>
                </c:pt>
                <c:pt idx="340">
                  <c:v>3.XII.21</c:v>
                </c:pt>
                <c:pt idx="341">
                  <c:v>4.XII.21</c:v>
                </c:pt>
                <c:pt idx="342">
                  <c:v>5.XII.21</c:v>
                </c:pt>
                <c:pt idx="343">
                  <c:v>6.XII.21</c:v>
                </c:pt>
                <c:pt idx="344">
                  <c:v>7.XII.21</c:v>
                </c:pt>
                <c:pt idx="345">
                  <c:v>8.XII.21</c:v>
                </c:pt>
                <c:pt idx="346">
                  <c:v>9.XII.21</c:v>
                </c:pt>
                <c:pt idx="347">
                  <c:v>10.XII.21</c:v>
                </c:pt>
                <c:pt idx="348">
                  <c:v>11.XII.21</c:v>
                </c:pt>
                <c:pt idx="349">
                  <c:v>12.XII.21</c:v>
                </c:pt>
                <c:pt idx="350">
                  <c:v>13.XII.21</c:v>
                </c:pt>
                <c:pt idx="351">
                  <c:v>14.XII.21</c:v>
                </c:pt>
                <c:pt idx="352">
                  <c:v>15.XII.21</c:v>
                </c:pt>
                <c:pt idx="353">
                  <c:v>16.XII.21</c:v>
                </c:pt>
                <c:pt idx="354">
                  <c:v>17.XII.21</c:v>
                </c:pt>
                <c:pt idx="355">
                  <c:v>18.XII.21</c:v>
                </c:pt>
                <c:pt idx="356">
                  <c:v>19.XII.21</c:v>
                </c:pt>
                <c:pt idx="357">
                  <c:v>20.XII.21</c:v>
                </c:pt>
                <c:pt idx="358">
                  <c:v>21.XII.21</c:v>
                </c:pt>
                <c:pt idx="359">
                  <c:v>22.XII.21</c:v>
                </c:pt>
                <c:pt idx="360">
                  <c:v>23.XII.21</c:v>
                </c:pt>
                <c:pt idx="361">
                  <c:v>27.XII.21</c:v>
                </c:pt>
                <c:pt idx="362">
                  <c:v>28.XII.21</c:v>
                </c:pt>
                <c:pt idx="363">
                  <c:v>29.XII.21</c:v>
                </c:pt>
                <c:pt idx="364">
                  <c:v>30.XII.21</c:v>
                </c:pt>
                <c:pt idx="365">
                  <c:v>31.XII.21</c:v>
                </c:pt>
                <c:pt idx="366">
                  <c:v>2.I.22</c:v>
                </c:pt>
                <c:pt idx="367">
                  <c:v>3.I.22</c:v>
                </c:pt>
                <c:pt idx="368">
                  <c:v>4.I.22</c:v>
                </c:pt>
                <c:pt idx="369">
                  <c:v>5.I.22</c:v>
                </c:pt>
                <c:pt idx="370">
                  <c:v>6.I.22</c:v>
                </c:pt>
                <c:pt idx="371">
                  <c:v>7.I.22</c:v>
                </c:pt>
              </c:strCache>
            </c:strRef>
          </c:cat>
          <c:val>
            <c:numRef>
              <c:f>List1!$J$5:$NQ$5</c:f>
              <c:numCache>
                <c:formatCode>General</c:formatCode>
                <c:ptCount val="372"/>
                <c:pt idx="0">
                  <c:v>1180</c:v>
                </c:pt>
                <c:pt idx="1">
                  <c:v>2129</c:v>
                </c:pt>
                <c:pt idx="2">
                  <c:v>3072</c:v>
                </c:pt>
                <c:pt idx="3">
                  <c:v>3410</c:v>
                </c:pt>
                <c:pt idx="4">
                  <c:v>3499</c:v>
                </c:pt>
                <c:pt idx="5">
                  <c:v>3891</c:v>
                </c:pt>
                <c:pt idx="6">
                  <c:v>4204</c:v>
                </c:pt>
                <c:pt idx="7">
                  <c:v>5399</c:v>
                </c:pt>
                <c:pt idx="8">
                  <c:v>6713</c:v>
                </c:pt>
                <c:pt idx="9">
                  <c:v>8210</c:v>
                </c:pt>
                <c:pt idx="10">
                  <c:v>9886</c:v>
                </c:pt>
                <c:pt idx="11">
                  <c:v>11696</c:v>
                </c:pt>
                <c:pt idx="12">
                  <c:v>12105</c:v>
                </c:pt>
                <c:pt idx="13">
                  <c:v>12397</c:v>
                </c:pt>
                <c:pt idx="14">
                  <c:v>14145</c:v>
                </c:pt>
                <c:pt idx="15">
                  <c:v>16091</c:v>
                </c:pt>
                <c:pt idx="16">
                  <c:v>17794</c:v>
                </c:pt>
                <c:pt idx="17">
                  <c:v>19697</c:v>
                </c:pt>
                <c:pt idx="18">
                  <c:v>21501</c:v>
                </c:pt>
                <c:pt idx="19">
                  <c:v>21836</c:v>
                </c:pt>
                <c:pt idx="20">
                  <c:v>22061</c:v>
                </c:pt>
                <c:pt idx="21">
                  <c:v>23619</c:v>
                </c:pt>
                <c:pt idx="22">
                  <c:v>24799</c:v>
                </c:pt>
                <c:pt idx="23">
                  <c:v>25927</c:v>
                </c:pt>
                <c:pt idx="24">
                  <c:v>26927</c:v>
                </c:pt>
                <c:pt idx="25">
                  <c:v>27757</c:v>
                </c:pt>
                <c:pt idx="26">
                  <c:v>27926</c:v>
                </c:pt>
                <c:pt idx="27">
                  <c:v>28008</c:v>
                </c:pt>
                <c:pt idx="28">
                  <c:v>28519</c:v>
                </c:pt>
                <c:pt idx="29">
                  <c:v>29058</c:v>
                </c:pt>
                <c:pt idx="30">
                  <c:v>29457</c:v>
                </c:pt>
                <c:pt idx="31">
                  <c:v>29835</c:v>
                </c:pt>
                <c:pt idx="32">
                  <c:v>30167</c:v>
                </c:pt>
                <c:pt idx="33">
                  <c:v>30192</c:v>
                </c:pt>
                <c:pt idx="34">
                  <c:v>30213</c:v>
                </c:pt>
                <c:pt idx="35">
                  <c:v>30457</c:v>
                </c:pt>
                <c:pt idx="36">
                  <c:v>30693</c:v>
                </c:pt>
                <c:pt idx="37">
                  <c:v>30916</c:v>
                </c:pt>
                <c:pt idx="38">
                  <c:v>31111</c:v>
                </c:pt>
                <c:pt idx="39">
                  <c:v>31387</c:v>
                </c:pt>
                <c:pt idx="40">
                  <c:v>31407</c:v>
                </c:pt>
                <c:pt idx="41">
                  <c:v>31419</c:v>
                </c:pt>
                <c:pt idx="42">
                  <c:v>31555</c:v>
                </c:pt>
                <c:pt idx="43">
                  <c:v>31693</c:v>
                </c:pt>
                <c:pt idx="44">
                  <c:v>31888</c:v>
                </c:pt>
                <c:pt idx="45">
                  <c:v>32120</c:v>
                </c:pt>
                <c:pt idx="46">
                  <c:v>32399</c:v>
                </c:pt>
                <c:pt idx="47">
                  <c:v>32498</c:v>
                </c:pt>
                <c:pt idx="48">
                  <c:v>32562</c:v>
                </c:pt>
                <c:pt idx="49">
                  <c:v>32918</c:v>
                </c:pt>
                <c:pt idx="50">
                  <c:v>33216</c:v>
                </c:pt>
                <c:pt idx="51">
                  <c:v>33477</c:v>
                </c:pt>
                <c:pt idx="52">
                  <c:v>33815</c:v>
                </c:pt>
                <c:pt idx="53">
                  <c:v>34262</c:v>
                </c:pt>
                <c:pt idx="54">
                  <c:v>34368</c:v>
                </c:pt>
                <c:pt idx="55">
                  <c:v>34415</c:v>
                </c:pt>
                <c:pt idx="56">
                  <c:v>34726</c:v>
                </c:pt>
                <c:pt idx="57">
                  <c:v>35207</c:v>
                </c:pt>
                <c:pt idx="58">
                  <c:v>35805</c:v>
                </c:pt>
                <c:pt idx="59">
                  <c:v>36459</c:v>
                </c:pt>
                <c:pt idx="60">
                  <c:v>37002</c:v>
                </c:pt>
                <c:pt idx="61">
                  <c:v>37076</c:v>
                </c:pt>
                <c:pt idx="62">
                  <c:v>37119</c:v>
                </c:pt>
                <c:pt idx="63">
                  <c:v>37667</c:v>
                </c:pt>
                <c:pt idx="64">
                  <c:v>38263</c:v>
                </c:pt>
                <c:pt idx="65">
                  <c:v>38823</c:v>
                </c:pt>
                <c:pt idx="66">
                  <c:v>39367</c:v>
                </c:pt>
                <c:pt idx="67">
                  <c:v>39960</c:v>
                </c:pt>
                <c:pt idx="68">
                  <c:v>40127</c:v>
                </c:pt>
                <c:pt idx="69">
                  <c:v>40236</c:v>
                </c:pt>
                <c:pt idx="70">
                  <c:v>40562</c:v>
                </c:pt>
                <c:pt idx="71">
                  <c:v>40959</c:v>
                </c:pt>
                <c:pt idx="72">
                  <c:v>41362</c:v>
                </c:pt>
                <c:pt idx="73">
                  <c:v>41840</c:v>
                </c:pt>
                <c:pt idx="74">
                  <c:v>42245</c:v>
                </c:pt>
                <c:pt idx="75">
                  <c:v>42384</c:v>
                </c:pt>
                <c:pt idx="76">
                  <c:v>42469</c:v>
                </c:pt>
                <c:pt idx="77">
                  <c:v>42722</c:v>
                </c:pt>
                <c:pt idx="78">
                  <c:v>43083</c:v>
                </c:pt>
                <c:pt idx="79">
                  <c:v>43439</c:v>
                </c:pt>
                <c:pt idx="80">
                  <c:v>43794</c:v>
                </c:pt>
                <c:pt idx="81">
                  <c:v>44125</c:v>
                </c:pt>
                <c:pt idx="82">
                  <c:v>44239</c:v>
                </c:pt>
                <c:pt idx="83">
                  <c:v>44309</c:v>
                </c:pt>
                <c:pt idx="84">
                  <c:v>44483</c:v>
                </c:pt>
                <c:pt idx="85">
                  <c:v>44676</c:v>
                </c:pt>
                <c:pt idx="86">
                  <c:v>44823</c:v>
                </c:pt>
                <c:pt idx="87">
                  <c:v>45017</c:v>
                </c:pt>
                <c:pt idx="88">
                  <c:v>45236</c:v>
                </c:pt>
                <c:pt idx="89">
                  <c:v>45299</c:v>
                </c:pt>
                <c:pt idx="90">
                  <c:v>45341</c:v>
                </c:pt>
                <c:pt idx="91">
                  <c:v>45466</c:v>
                </c:pt>
                <c:pt idx="92">
                  <c:v>45626</c:v>
                </c:pt>
                <c:pt idx="93">
                  <c:v>45786</c:v>
                </c:pt>
                <c:pt idx="94">
                  <c:v>46007</c:v>
                </c:pt>
                <c:pt idx="95">
                  <c:v>46083</c:v>
                </c:pt>
                <c:pt idx="96">
                  <c:v>46103</c:v>
                </c:pt>
                <c:pt idx="97">
                  <c:v>46132</c:v>
                </c:pt>
                <c:pt idx="98">
                  <c:v>46139</c:v>
                </c:pt>
                <c:pt idx="99">
                  <c:v>46229</c:v>
                </c:pt>
                <c:pt idx="100">
                  <c:v>46322</c:v>
                </c:pt>
                <c:pt idx="101">
                  <c:v>46491</c:v>
                </c:pt>
                <c:pt idx="102">
                  <c:v>46691</c:v>
                </c:pt>
                <c:pt idx="103">
                  <c:v>46736</c:v>
                </c:pt>
                <c:pt idx="104">
                  <c:v>46769</c:v>
                </c:pt>
                <c:pt idx="105">
                  <c:v>46905</c:v>
                </c:pt>
                <c:pt idx="106">
                  <c:v>47027</c:v>
                </c:pt>
                <c:pt idx="107">
                  <c:v>47132</c:v>
                </c:pt>
                <c:pt idx="108">
                  <c:v>47289</c:v>
                </c:pt>
                <c:pt idx="109">
                  <c:v>47464</c:v>
                </c:pt>
                <c:pt idx="110">
                  <c:v>47505</c:v>
                </c:pt>
                <c:pt idx="111">
                  <c:v>47560</c:v>
                </c:pt>
                <c:pt idx="112">
                  <c:v>47687</c:v>
                </c:pt>
                <c:pt idx="113">
                  <c:v>47806</c:v>
                </c:pt>
                <c:pt idx="114">
                  <c:v>47940</c:v>
                </c:pt>
                <c:pt idx="115">
                  <c:v>48087</c:v>
                </c:pt>
                <c:pt idx="116">
                  <c:v>48243</c:v>
                </c:pt>
                <c:pt idx="117">
                  <c:v>48299</c:v>
                </c:pt>
                <c:pt idx="118">
                  <c:v>48335</c:v>
                </c:pt>
                <c:pt idx="119">
                  <c:v>48447</c:v>
                </c:pt>
                <c:pt idx="120">
                  <c:v>48568</c:v>
                </c:pt>
                <c:pt idx="121">
                  <c:v>48689</c:v>
                </c:pt>
                <c:pt idx="122">
                  <c:v>48821</c:v>
                </c:pt>
                <c:pt idx="123">
                  <c:v>48960</c:v>
                </c:pt>
                <c:pt idx="124">
                  <c:v>48989</c:v>
                </c:pt>
                <c:pt idx="125">
                  <c:v>49019</c:v>
                </c:pt>
                <c:pt idx="126">
                  <c:v>49140</c:v>
                </c:pt>
                <c:pt idx="127">
                  <c:v>49265</c:v>
                </c:pt>
                <c:pt idx="128">
                  <c:v>49362</c:v>
                </c:pt>
                <c:pt idx="129">
                  <c:v>49479</c:v>
                </c:pt>
                <c:pt idx="130">
                  <c:v>49651</c:v>
                </c:pt>
                <c:pt idx="131">
                  <c:v>49713</c:v>
                </c:pt>
                <c:pt idx="132">
                  <c:v>49745</c:v>
                </c:pt>
                <c:pt idx="133">
                  <c:v>49845</c:v>
                </c:pt>
                <c:pt idx="134">
                  <c:v>49961</c:v>
                </c:pt>
                <c:pt idx="135">
                  <c:v>50092</c:v>
                </c:pt>
                <c:pt idx="136">
                  <c:v>50252</c:v>
                </c:pt>
                <c:pt idx="137">
                  <c:v>50380</c:v>
                </c:pt>
                <c:pt idx="138">
                  <c:v>50451</c:v>
                </c:pt>
                <c:pt idx="139">
                  <c:v>50483</c:v>
                </c:pt>
                <c:pt idx="140">
                  <c:v>50565</c:v>
                </c:pt>
                <c:pt idx="141">
                  <c:v>50657</c:v>
                </c:pt>
                <c:pt idx="142">
                  <c:v>50742</c:v>
                </c:pt>
                <c:pt idx="143">
                  <c:v>50842</c:v>
                </c:pt>
                <c:pt idx="144">
                  <c:v>50949</c:v>
                </c:pt>
                <c:pt idx="145">
                  <c:v>50980</c:v>
                </c:pt>
                <c:pt idx="146">
                  <c:v>50995</c:v>
                </c:pt>
                <c:pt idx="147">
                  <c:v>51044</c:v>
                </c:pt>
                <c:pt idx="148">
                  <c:v>51106</c:v>
                </c:pt>
                <c:pt idx="149">
                  <c:v>51198</c:v>
                </c:pt>
                <c:pt idx="150">
                  <c:v>51279</c:v>
                </c:pt>
                <c:pt idx="151">
                  <c:v>51383</c:v>
                </c:pt>
                <c:pt idx="152">
                  <c:v>51420</c:v>
                </c:pt>
                <c:pt idx="153">
                  <c:v>51453</c:v>
                </c:pt>
                <c:pt idx="154">
                  <c:v>51527</c:v>
                </c:pt>
                <c:pt idx="155">
                  <c:v>51608</c:v>
                </c:pt>
                <c:pt idx="156">
                  <c:v>51702</c:v>
                </c:pt>
                <c:pt idx="157">
                  <c:v>51772</c:v>
                </c:pt>
                <c:pt idx="158">
                  <c:v>51870</c:v>
                </c:pt>
                <c:pt idx="159">
                  <c:v>51897</c:v>
                </c:pt>
                <c:pt idx="160">
                  <c:v>51930</c:v>
                </c:pt>
                <c:pt idx="161">
                  <c:v>52011</c:v>
                </c:pt>
                <c:pt idx="162">
                  <c:v>52109</c:v>
                </c:pt>
                <c:pt idx="163">
                  <c:v>52194</c:v>
                </c:pt>
                <c:pt idx="164">
                  <c:v>52280</c:v>
                </c:pt>
                <c:pt idx="165">
                  <c:v>52375</c:v>
                </c:pt>
                <c:pt idx="166">
                  <c:v>52404</c:v>
                </c:pt>
                <c:pt idx="167">
                  <c:v>52434</c:v>
                </c:pt>
                <c:pt idx="168">
                  <c:v>52504</c:v>
                </c:pt>
                <c:pt idx="169">
                  <c:v>52559</c:v>
                </c:pt>
                <c:pt idx="170">
                  <c:v>52634</c:v>
                </c:pt>
                <c:pt idx="171">
                  <c:v>52712</c:v>
                </c:pt>
                <c:pt idx="172">
                  <c:v>52790</c:v>
                </c:pt>
                <c:pt idx="173">
                  <c:v>52818</c:v>
                </c:pt>
                <c:pt idx="174">
                  <c:v>52843</c:v>
                </c:pt>
                <c:pt idx="175">
                  <c:v>52881</c:v>
                </c:pt>
                <c:pt idx="176">
                  <c:v>52931</c:v>
                </c:pt>
                <c:pt idx="177">
                  <c:v>52984</c:v>
                </c:pt>
                <c:pt idx="178">
                  <c:v>53036</c:v>
                </c:pt>
                <c:pt idx="179">
                  <c:v>53093</c:v>
                </c:pt>
                <c:pt idx="180">
                  <c:v>53107</c:v>
                </c:pt>
                <c:pt idx="181">
                  <c:v>53119</c:v>
                </c:pt>
                <c:pt idx="182">
                  <c:v>53163</c:v>
                </c:pt>
                <c:pt idx="183">
                  <c:v>53209</c:v>
                </c:pt>
                <c:pt idx="184">
                  <c:v>53267</c:v>
                </c:pt>
                <c:pt idx="185">
                  <c:v>53311</c:v>
                </c:pt>
                <c:pt idx="186">
                  <c:v>53366</c:v>
                </c:pt>
                <c:pt idx="187">
                  <c:v>53378</c:v>
                </c:pt>
                <c:pt idx="188">
                  <c:v>53390</c:v>
                </c:pt>
                <c:pt idx="189">
                  <c:v>53396</c:v>
                </c:pt>
                <c:pt idx="190">
                  <c:v>53405</c:v>
                </c:pt>
                <c:pt idx="191">
                  <c:v>53445</c:v>
                </c:pt>
                <c:pt idx="192">
                  <c:v>53500</c:v>
                </c:pt>
                <c:pt idx="193">
                  <c:v>53548</c:v>
                </c:pt>
                <c:pt idx="194">
                  <c:v>53563</c:v>
                </c:pt>
                <c:pt idx="195">
                  <c:v>53577</c:v>
                </c:pt>
                <c:pt idx="196">
                  <c:v>53625</c:v>
                </c:pt>
                <c:pt idx="197">
                  <c:v>53668</c:v>
                </c:pt>
                <c:pt idx="198">
                  <c:v>53714</c:v>
                </c:pt>
                <c:pt idx="199">
                  <c:v>53774</c:v>
                </c:pt>
                <c:pt idx="200">
                  <c:v>53829</c:v>
                </c:pt>
                <c:pt idx="201">
                  <c:v>53851</c:v>
                </c:pt>
                <c:pt idx="202">
                  <c:v>53870</c:v>
                </c:pt>
                <c:pt idx="203">
                  <c:v>53919</c:v>
                </c:pt>
                <c:pt idx="204">
                  <c:v>53964</c:v>
                </c:pt>
                <c:pt idx="205">
                  <c:v>54033</c:v>
                </c:pt>
                <c:pt idx="206">
                  <c:v>54071</c:v>
                </c:pt>
                <c:pt idx="207">
                  <c:v>54104</c:v>
                </c:pt>
                <c:pt idx="208">
                  <c:v>54110</c:v>
                </c:pt>
                <c:pt idx="209">
                  <c:v>54119</c:v>
                </c:pt>
                <c:pt idx="210">
                  <c:v>54159</c:v>
                </c:pt>
                <c:pt idx="211">
                  <c:v>54212</c:v>
                </c:pt>
                <c:pt idx="212">
                  <c:v>54247</c:v>
                </c:pt>
                <c:pt idx="213">
                  <c:v>54275</c:v>
                </c:pt>
                <c:pt idx="214">
                  <c:v>54320</c:v>
                </c:pt>
                <c:pt idx="215">
                  <c:v>54337</c:v>
                </c:pt>
                <c:pt idx="216">
                  <c:v>54350</c:v>
                </c:pt>
                <c:pt idx="217">
                  <c:v>54387</c:v>
                </c:pt>
                <c:pt idx="218">
                  <c:v>54413</c:v>
                </c:pt>
                <c:pt idx="219">
                  <c:v>54453</c:v>
                </c:pt>
                <c:pt idx="220">
                  <c:v>54484</c:v>
                </c:pt>
                <c:pt idx="221">
                  <c:v>54517</c:v>
                </c:pt>
                <c:pt idx="222">
                  <c:v>54530</c:v>
                </c:pt>
                <c:pt idx="223">
                  <c:v>54535</c:v>
                </c:pt>
                <c:pt idx="224">
                  <c:v>54557</c:v>
                </c:pt>
                <c:pt idx="225">
                  <c:v>54572</c:v>
                </c:pt>
                <c:pt idx="226">
                  <c:v>54592</c:v>
                </c:pt>
                <c:pt idx="227">
                  <c:v>54615</c:v>
                </c:pt>
                <c:pt idx="228">
                  <c:v>54640</c:v>
                </c:pt>
                <c:pt idx="229">
                  <c:v>54650</c:v>
                </c:pt>
                <c:pt idx="230">
                  <c:v>54655</c:v>
                </c:pt>
                <c:pt idx="231">
                  <c:v>54672</c:v>
                </c:pt>
                <c:pt idx="232">
                  <c:v>54696</c:v>
                </c:pt>
                <c:pt idx="233">
                  <c:v>54719</c:v>
                </c:pt>
                <c:pt idx="234">
                  <c:v>54741</c:v>
                </c:pt>
                <c:pt idx="235">
                  <c:v>54774</c:v>
                </c:pt>
                <c:pt idx="236">
                  <c:v>54784</c:v>
                </c:pt>
                <c:pt idx="237">
                  <c:v>54787</c:v>
                </c:pt>
                <c:pt idx="238">
                  <c:v>54799</c:v>
                </c:pt>
                <c:pt idx="239">
                  <c:v>54827</c:v>
                </c:pt>
                <c:pt idx="240">
                  <c:v>54851</c:v>
                </c:pt>
                <c:pt idx="241">
                  <c:v>54878</c:v>
                </c:pt>
                <c:pt idx="242">
                  <c:v>54906</c:v>
                </c:pt>
                <c:pt idx="243">
                  <c:v>54908</c:v>
                </c:pt>
                <c:pt idx="244">
                  <c:v>54915</c:v>
                </c:pt>
                <c:pt idx="245">
                  <c:v>54937</c:v>
                </c:pt>
                <c:pt idx="246">
                  <c:v>54962</c:v>
                </c:pt>
                <c:pt idx="247">
                  <c:v>54982</c:v>
                </c:pt>
                <c:pt idx="248">
                  <c:v>55010</c:v>
                </c:pt>
                <c:pt idx="249">
                  <c:v>55036</c:v>
                </c:pt>
                <c:pt idx="250">
                  <c:v>55044</c:v>
                </c:pt>
                <c:pt idx="251">
                  <c:v>55049</c:v>
                </c:pt>
                <c:pt idx="252">
                  <c:v>55062</c:v>
                </c:pt>
                <c:pt idx="253">
                  <c:v>55075</c:v>
                </c:pt>
                <c:pt idx="254">
                  <c:v>55095</c:v>
                </c:pt>
                <c:pt idx="255">
                  <c:v>55122</c:v>
                </c:pt>
                <c:pt idx="256">
                  <c:v>55147</c:v>
                </c:pt>
                <c:pt idx="257">
                  <c:v>55149</c:v>
                </c:pt>
                <c:pt idx="258">
                  <c:v>55152</c:v>
                </c:pt>
                <c:pt idx="259">
                  <c:v>55171</c:v>
                </c:pt>
                <c:pt idx="260">
                  <c:v>55189</c:v>
                </c:pt>
                <c:pt idx="261">
                  <c:v>55204</c:v>
                </c:pt>
                <c:pt idx="262">
                  <c:v>55222</c:v>
                </c:pt>
                <c:pt idx="263">
                  <c:v>55247</c:v>
                </c:pt>
                <c:pt idx="264">
                  <c:v>55252</c:v>
                </c:pt>
                <c:pt idx="265">
                  <c:v>55252</c:v>
                </c:pt>
                <c:pt idx="266">
                  <c:v>55272</c:v>
                </c:pt>
                <c:pt idx="267">
                  <c:v>55280</c:v>
                </c:pt>
                <c:pt idx="268">
                  <c:v>55291</c:v>
                </c:pt>
                <c:pt idx="269">
                  <c:v>55315</c:v>
                </c:pt>
                <c:pt idx="270">
                  <c:v>55341</c:v>
                </c:pt>
                <c:pt idx="271">
                  <c:v>55347</c:v>
                </c:pt>
                <c:pt idx="272">
                  <c:v>55347</c:v>
                </c:pt>
                <c:pt idx="273">
                  <c:v>55359</c:v>
                </c:pt>
                <c:pt idx="274">
                  <c:v>55359</c:v>
                </c:pt>
                <c:pt idx="275">
                  <c:v>55376</c:v>
                </c:pt>
                <c:pt idx="276">
                  <c:v>55391</c:v>
                </c:pt>
                <c:pt idx="277">
                  <c:v>55411</c:v>
                </c:pt>
                <c:pt idx="278">
                  <c:v>55417</c:v>
                </c:pt>
                <c:pt idx="279">
                  <c:v>55417</c:v>
                </c:pt>
                <c:pt idx="280">
                  <c:v>55427</c:v>
                </c:pt>
                <c:pt idx="281">
                  <c:v>55434</c:v>
                </c:pt>
                <c:pt idx="282">
                  <c:v>55446</c:v>
                </c:pt>
                <c:pt idx="283">
                  <c:v>55464</c:v>
                </c:pt>
                <c:pt idx="284">
                  <c:v>55478</c:v>
                </c:pt>
                <c:pt idx="285">
                  <c:v>55484</c:v>
                </c:pt>
                <c:pt idx="286">
                  <c:v>55484</c:v>
                </c:pt>
                <c:pt idx="287">
                  <c:v>55503</c:v>
                </c:pt>
                <c:pt idx="288">
                  <c:v>55521</c:v>
                </c:pt>
                <c:pt idx="289">
                  <c:v>55528</c:v>
                </c:pt>
                <c:pt idx="290">
                  <c:v>55538</c:v>
                </c:pt>
                <c:pt idx="291">
                  <c:v>55555</c:v>
                </c:pt>
                <c:pt idx="292">
                  <c:v>55557</c:v>
                </c:pt>
                <c:pt idx="293">
                  <c:v>55559</c:v>
                </c:pt>
                <c:pt idx="294">
                  <c:v>55580</c:v>
                </c:pt>
                <c:pt idx="295">
                  <c:v>55587</c:v>
                </c:pt>
                <c:pt idx="296">
                  <c:v>55601</c:v>
                </c:pt>
                <c:pt idx="297">
                  <c:v>55626</c:v>
                </c:pt>
                <c:pt idx="298">
                  <c:v>55665</c:v>
                </c:pt>
                <c:pt idx="299">
                  <c:v>55672</c:v>
                </c:pt>
                <c:pt idx="300">
                  <c:v>55678</c:v>
                </c:pt>
                <c:pt idx="301">
                  <c:v>55699</c:v>
                </c:pt>
                <c:pt idx="302">
                  <c:v>55736</c:v>
                </c:pt>
                <c:pt idx="303">
                  <c:v>55783</c:v>
                </c:pt>
                <c:pt idx="304">
                  <c:v>55790</c:v>
                </c:pt>
                <c:pt idx="305">
                  <c:v>55824</c:v>
                </c:pt>
                <c:pt idx="306">
                  <c:v>55836</c:v>
                </c:pt>
                <c:pt idx="307">
                  <c:v>55839</c:v>
                </c:pt>
                <c:pt idx="308">
                  <c:v>55883</c:v>
                </c:pt>
                <c:pt idx="309">
                  <c:v>55922</c:v>
                </c:pt>
                <c:pt idx="310">
                  <c:v>55957</c:v>
                </c:pt>
                <c:pt idx="311">
                  <c:v>56016</c:v>
                </c:pt>
                <c:pt idx="312">
                  <c:v>56079</c:v>
                </c:pt>
                <c:pt idx="313">
                  <c:v>56103</c:v>
                </c:pt>
                <c:pt idx="314">
                  <c:v>56118</c:v>
                </c:pt>
                <c:pt idx="315">
                  <c:v>56148</c:v>
                </c:pt>
                <c:pt idx="316">
                  <c:v>56183</c:v>
                </c:pt>
                <c:pt idx="317">
                  <c:v>56216</c:v>
                </c:pt>
                <c:pt idx="318">
                  <c:v>56250</c:v>
                </c:pt>
                <c:pt idx="319">
                  <c:v>56314</c:v>
                </c:pt>
                <c:pt idx="320">
                  <c:v>56325</c:v>
                </c:pt>
                <c:pt idx="321">
                  <c:v>56334</c:v>
                </c:pt>
                <c:pt idx="322">
                  <c:v>56382</c:v>
                </c:pt>
                <c:pt idx="323">
                  <c:v>56438</c:v>
                </c:pt>
                <c:pt idx="324">
                  <c:v>56453</c:v>
                </c:pt>
                <c:pt idx="325">
                  <c:v>56498</c:v>
                </c:pt>
                <c:pt idx="326">
                  <c:v>56566</c:v>
                </c:pt>
                <c:pt idx="327">
                  <c:v>56592</c:v>
                </c:pt>
                <c:pt idx="328">
                  <c:v>56603</c:v>
                </c:pt>
                <c:pt idx="329">
                  <c:v>56651</c:v>
                </c:pt>
                <c:pt idx="330">
                  <c:v>56702</c:v>
                </c:pt>
                <c:pt idx="331">
                  <c:v>56738</c:v>
                </c:pt>
                <c:pt idx="332">
                  <c:v>56789</c:v>
                </c:pt>
                <c:pt idx="333">
                  <c:v>56849</c:v>
                </c:pt>
                <c:pt idx="334">
                  <c:v>56859</c:v>
                </c:pt>
                <c:pt idx="335">
                  <c:v>56864</c:v>
                </c:pt>
                <c:pt idx="336">
                  <c:v>56894</c:v>
                </c:pt>
                <c:pt idx="337">
                  <c:v>56922</c:v>
                </c:pt>
                <c:pt idx="338">
                  <c:v>56956</c:v>
                </c:pt>
                <c:pt idx="339">
                  <c:v>56982</c:v>
                </c:pt>
                <c:pt idx="340">
                  <c:v>57013</c:v>
                </c:pt>
                <c:pt idx="341">
                  <c:v>57017</c:v>
                </c:pt>
                <c:pt idx="342">
                  <c:v>57019</c:v>
                </c:pt>
                <c:pt idx="343">
                  <c:v>57039</c:v>
                </c:pt>
                <c:pt idx="344">
                  <c:v>57057</c:v>
                </c:pt>
                <c:pt idx="345">
                  <c:v>57081</c:v>
                </c:pt>
                <c:pt idx="346">
                  <c:v>57100</c:v>
                </c:pt>
                <c:pt idx="347">
                  <c:v>57119</c:v>
                </c:pt>
                <c:pt idx="348">
                  <c:v>57123</c:v>
                </c:pt>
                <c:pt idx="349">
                  <c:v>57125</c:v>
                </c:pt>
                <c:pt idx="350">
                  <c:v>57138</c:v>
                </c:pt>
                <c:pt idx="351">
                  <c:v>57149</c:v>
                </c:pt>
                <c:pt idx="352">
                  <c:v>57162</c:v>
                </c:pt>
                <c:pt idx="353">
                  <c:v>57179</c:v>
                </c:pt>
                <c:pt idx="354">
                  <c:v>57196</c:v>
                </c:pt>
                <c:pt idx="355">
                  <c:v>57200</c:v>
                </c:pt>
                <c:pt idx="356">
                  <c:v>57202</c:v>
                </c:pt>
                <c:pt idx="357">
                  <c:v>57211</c:v>
                </c:pt>
                <c:pt idx="358">
                  <c:v>57220</c:v>
                </c:pt>
                <c:pt idx="359">
                  <c:v>57234</c:v>
                </c:pt>
                <c:pt idx="360">
                  <c:v>57236</c:v>
                </c:pt>
                <c:pt idx="361">
                  <c:v>57244</c:v>
                </c:pt>
                <c:pt idx="362">
                  <c:v>57249</c:v>
                </c:pt>
                <c:pt idx="363">
                  <c:v>57252</c:v>
                </c:pt>
                <c:pt idx="364">
                  <c:v>57259</c:v>
                </c:pt>
                <c:pt idx="365">
                  <c:v>57261</c:v>
                </c:pt>
                <c:pt idx="366">
                  <c:v>57262</c:v>
                </c:pt>
                <c:pt idx="367">
                  <c:v>57267</c:v>
                </c:pt>
                <c:pt idx="368">
                  <c:v>57271</c:v>
                </c:pt>
                <c:pt idx="369">
                  <c:v>57281</c:v>
                </c:pt>
                <c:pt idx="370">
                  <c:v>57292</c:v>
                </c:pt>
                <c:pt idx="371">
                  <c:v>57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34</c:f>
              <c:numCache>
                <c:formatCode>m/d/yyyy</c:formatCode>
                <c:ptCount val="20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</c:numCache>
            </c:numRef>
          </c:cat>
          <c:val>
            <c:numRef>
              <c:f>Sheet1!$B$135:$B$334</c:f>
              <c:numCache>
                <c:formatCode>General</c:formatCode>
                <c:ptCount val="200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</c:v>
                </c:pt>
                <c:pt idx="19">
                  <c:v>0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3</c:v>
                </c:pt>
                <c:pt idx="25">
                  <c:v>2</c:v>
                </c:pt>
                <c:pt idx="26">
                  <c:v>1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4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2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7</c:v>
                </c:pt>
                <c:pt idx="44">
                  <c:v>1</c:v>
                </c:pt>
                <c:pt idx="45">
                  <c:v>2</c:v>
                </c:pt>
                <c:pt idx="46">
                  <c:v>0</c:v>
                </c:pt>
                <c:pt idx="47">
                  <c:v>3</c:v>
                </c:pt>
                <c:pt idx="48">
                  <c:v>2</c:v>
                </c:pt>
                <c:pt idx="49">
                  <c:v>0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2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4</c:v>
                </c:pt>
                <c:pt idx="71">
                  <c:v>4</c:v>
                </c:pt>
                <c:pt idx="72">
                  <c:v>1</c:v>
                </c:pt>
                <c:pt idx="73">
                  <c:v>1</c:v>
                </c:pt>
                <c:pt idx="74">
                  <c:v>3</c:v>
                </c:pt>
                <c:pt idx="75">
                  <c:v>1</c:v>
                </c:pt>
                <c:pt idx="76">
                  <c:v>0</c:v>
                </c:pt>
                <c:pt idx="77">
                  <c:v>2</c:v>
                </c:pt>
                <c:pt idx="78">
                  <c:v>0</c:v>
                </c:pt>
                <c:pt idx="79">
                  <c:v>0</c:v>
                </c:pt>
                <c:pt idx="80">
                  <c:v>3</c:v>
                </c:pt>
                <c:pt idx="81">
                  <c:v>3</c:v>
                </c:pt>
                <c:pt idx="82">
                  <c:v>0</c:v>
                </c:pt>
                <c:pt idx="83">
                  <c:v>4</c:v>
                </c:pt>
                <c:pt idx="84">
                  <c:v>2</c:v>
                </c:pt>
                <c:pt idx="85">
                  <c:v>0</c:v>
                </c:pt>
                <c:pt idx="86">
                  <c:v>1</c:v>
                </c:pt>
                <c:pt idx="87">
                  <c:v>2</c:v>
                </c:pt>
                <c:pt idx="88">
                  <c:v>1</c:v>
                </c:pt>
                <c:pt idx="89">
                  <c:v>1</c:v>
                </c:pt>
                <c:pt idx="90">
                  <c:v>0</c:v>
                </c:pt>
                <c:pt idx="91">
                  <c:v>3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0</c:v>
                </c:pt>
                <c:pt idx="96">
                  <c:v>2</c:v>
                </c:pt>
                <c:pt idx="97">
                  <c:v>6</c:v>
                </c:pt>
                <c:pt idx="98">
                  <c:v>4</c:v>
                </c:pt>
                <c:pt idx="99">
                  <c:v>3</c:v>
                </c:pt>
                <c:pt idx="100">
                  <c:v>9</c:v>
                </c:pt>
                <c:pt idx="101">
                  <c:v>2</c:v>
                </c:pt>
                <c:pt idx="102">
                  <c:v>5</c:v>
                </c:pt>
                <c:pt idx="103">
                  <c:v>1</c:v>
                </c:pt>
                <c:pt idx="104">
                  <c:v>0</c:v>
                </c:pt>
                <c:pt idx="105">
                  <c:v>2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1</c:v>
                </c:pt>
                <c:pt idx="110">
                  <c:v>1</c:v>
                </c:pt>
                <c:pt idx="111">
                  <c:v>3</c:v>
                </c:pt>
                <c:pt idx="112">
                  <c:v>10</c:v>
                </c:pt>
                <c:pt idx="113">
                  <c:v>7</c:v>
                </c:pt>
                <c:pt idx="114">
                  <c:v>7</c:v>
                </c:pt>
                <c:pt idx="115">
                  <c:v>6</c:v>
                </c:pt>
                <c:pt idx="116">
                  <c:v>5</c:v>
                </c:pt>
                <c:pt idx="117">
                  <c:v>8</c:v>
                </c:pt>
                <c:pt idx="118">
                  <c:v>17</c:v>
                </c:pt>
                <c:pt idx="119">
                  <c:v>17</c:v>
                </c:pt>
                <c:pt idx="120">
                  <c:v>13</c:v>
                </c:pt>
                <c:pt idx="121">
                  <c:v>13</c:v>
                </c:pt>
                <c:pt idx="122">
                  <c:v>17</c:v>
                </c:pt>
                <c:pt idx="123">
                  <c:v>15</c:v>
                </c:pt>
                <c:pt idx="124">
                  <c:v>12</c:v>
                </c:pt>
                <c:pt idx="125">
                  <c:v>28</c:v>
                </c:pt>
                <c:pt idx="126">
                  <c:v>20</c:v>
                </c:pt>
                <c:pt idx="127">
                  <c:v>23</c:v>
                </c:pt>
                <c:pt idx="128">
                  <c:v>22</c:v>
                </c:pt>
                <c:pt idx="129">
                  <c:v>38</c:v>
                </c:pt>
                <c:pt idx="130">
                  <c:v>22</c:v>
                </c:pt>
                <c:pt idx="131">
                  <c:v>18</c:v>
                </c:pt>
                <c:pt idx="132">
                  <c:v>57</c:v>
                </c:pt>
                <c:pt idx="133">
                  <c:v>39</c:v>
                </c:pt>
                <c:pt idx="134">
                  <c:v>39</c:v>
                </c:pt>
                <c:pt idx="135">
                  <c:v>27</c:v>
                </c:pt>
                <c:pt idx="136">
                  <c:v>41</c:v>
                </c:pt>
                <c:pt idx="137">
                  <c:v>21</c:v>
                </c:pt>
                <c:pt idx="138">
                  <c:v>19</c:v>
                </c:pt>
                <c:pt idx="139">
                  <c:v>53</c:v>
                </c:pt>
                <c:pt idx="140">
                  <c:v>46</c:v>
                </c:pt>
                <c:pt idx="141">
                  <c:v>48</c:v>
                </c:pt>
                <c:pt idx="142">
                  <c:v>50</c:v>
                </c:pt>
                <c:pt idx="143">
                  <c:v>45</c:v>
                </c:pt>
                <c:pt idx="144">
                  <c:v>50</c:v>
                </c:pt>
                <c:pt idx="145">
                  <c:v>23</c:v>
                </c:pt>
                <c:pt idx="146">
                  <c:v>65</c:v>
                </c:pt>
                <c:pt idx="147">
                  <c:v>62</c:v>
                </c:pt>
                <c:pt idx="148">
                  <c:v>44</c:v>
                </c:pt>
                <c:pt idx="149">
                  <c:v>58</c:v>
                </c:pt>
                <c:pt idx="150">
                  <c:v>84</c:v>
                </c:pt>
                <c:pt idx="151">
                  <c:v>50</c:v>
                </c:pt>
                <c:pt idx="152">
                  <c:v>31</c:v>
                </c:pt>
                <c:pt idx="153">
                  <c:v>63</c:v>
                </c:pt>
                <c:pt idx="154">
                  <c:v>73</c:v>
                </c:pt>
                <c:pt idx="155">
                  <c:v>44</c:v>
                </c:pt>
                <c:pt idx="156">
                  <c:v>71</c:v>
                </c:pt>
                <c:pt idx="157">
                  <c:v>57</c:v>
                </c:pt>
                <c:pt idx="158">
                  <c:v>34</c:v>
                </c:pt>
                <c:pt idx="159">
                  <c:v>42</c:v>
                </c:pt>
                <c:pt idx="160">
                  <c:v>64</c:v>
                </c:pt>
                <c:pt idx="161">
                  <c:v>52</c:v>
                </c:pt>
                <c:pt idx="162">
                  <c:v>57</c:v>
                </c:pt>
                <c:pt idx="163">
                  <c:v>44</c:v>
                </c:pt>
                <c:pt idx="164">
                  <c:v>52</c:v>
                </c:pt>
                <c:pt idx="165">
                  <c:v>27</c:v>
                </c:pt>
                <c:pt idx="166">
                  <c:v>17</c:v>
                </c:pt>
                <c:pt idx="167">
                  <c:v>47</c:v>
                </c:pt>
                <c:pt idx="168">
                  <c:v>45</c:v>
                </c:pt>
                <c:pt idx="169">
                  <c:v>31</c:v>
                </c:pt>
                <c:pt idx="170">
                  <c:v>33</c:v>
                </c:pt>
                <c:pt idx="171">
                  <c:v>34</c:v>
                </c:pt>
                <c:pt idx="172">
                  <c:v>21</c:v>
                </c:pt>
                <c:pt idx="173">
                  <c:v>13</c:v>
                </c:pt>
                <c:pt idx="174">
                  <c:v>30</c:v>
                </c:pt>
                <c:pt idx="175">
                  <c:v>25</c:v>
                </c:pt>
                <c:pt idx="176">
                  <c:v>25</c:v>
                </c:pt>
                <c:pt idx="177">
                  <c:v>16</c:v>
                </c:pt>
                <c:pt idx="178">
                  <c:v>25</c:v>
                </c:pt>
                <c:pt idx="179">
                  <c:v>21</c:v>
                </c:pt>
                <c:pt idx="180">
                  <c:v>15</c:v>
                </c:pt>
                <c:pt idx="181">
                  <c:v>27</c:v>
                </c:pt>
                <c:pt idx="182">
                  <c:v>31</c:v>
                </c:pt>
                <c:pt idx="183">
                  <c:v>22</c:v>
                </c:pt>
                <c:pt idx="184">
                  <c:v>24</c:v>
                </c:pt>
                <c:pt idx="185">
                  <c:v>4</c:v>
                </c:pt>
                <c:pt idx="186">
                  <c:v>12</c:v>
                </c:pt>
                <c:pt idx="187">
                  <c:v>8</c:v>
                </c:pt>
                <c:pt idx="188">
                  <c:v>26</c:v>
                </c:pt>
                <c:pt idx="189">
                  <c:v>34</c:v>
                </c:pt>
                <c:pt idx="190">
                  <c:v>27</c:v>
                </c:pt>
                <c:pt idx="191">
                  <c:v>23</c:v>
                </c:pt>
                <c:pt idx="192">
                  <c:v>21</c:v>
                </c:pt>
                <c:pt idx="193">
                  <c:v>7</c:v>
                </c:pt>
                <c:pt idx="194">
                  <c:v>27</c:v>
                </c:pt>
                <c:pt idx="195">
                  <c:v>41</c:v>
                </c:pt>
                <c:pt idx="196">
                  <c:v>31</c:v>
                </c:pt>
                <c:pt idx="197">
                  <c:v>21</c:v>
                </c:pt>
                <c:pt idx="198">
                  <c:v>26</c:v>
                </c:pt>
                <c:pt idx="199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56471970000000005</c:v>
                </c:pt>
                <c:pt idx="10">
                  <c:v>2.2588788000000002</c:v>
                </c:pt>
                <c:pt idx="11">
                  <c:v>9.6002349000000002</c:v>
                </c:pt>
                <c:pt idx="12">
                  <c:v>13.8356326</c:v>
                </c:pt>
                <c:pt idx="13">
                  <c:v>8.7551082999999998</c:v>
                </c:pt>
                <c:pt idx="14">
                  <c:v>4.5204380000000004</c:v>
                </c:pt>
                <c:pt idx="15">
                  <c:v>6.5005354999999998</c:v>
                </c:pt>
                <c:pt idx="16">
                  <c:v>3.3928303</c:v>
                </c:pt>
                <c:pt idx="17">
                  <c:v>1.9798395</c:v>
                </c:pt>
                <c:pt idx="18">
                  <c:v>2.2630385999999998</c:v>
                </c:pt>
                <c:pt idx="19">
                  <c:v>0.84876669999999999</c:v>
                </c:pt>
                <c:pt idx="20">
                  <c:v>0.56592770000000003</c:v>
                </c:pt>
                <c:pt idx="21">
                  <c:v>1.4150155</c:v>
                </c:pt>
                <c:pt idx="22">
                  <c:v>1.1321437999999999</c:v>
                </c:pt>
                <c:pt idx="23">
                  <c:v>0.84919679999999997</c:v>
                </c:pt>
                <c:pt idx="24">
                  <c:v>1.4154762000000001</c:v>
                </c:pt>
                <c:pt idx="25">
                  <c:v>1.1324964</c:v>
                </c:pt>
                <c:pt idx="26">
                  <c:v>1.1325509</c:v>
                </c:pt>
                <c:pt idx="27">
                  <c:v>1.1325284</c:v>
                </c:pt>
                <c:pt idx="28">
                  <c:v>1.6987638</c:v>
                </c:pt>
                <c:pt idx="29">
                  <c:v>2.5481025000000002</c:v>
                </c:pt>
                <c:pt idx="30">
                  <c:v>4.2463205000000004</c:v>
                </c:pt>
                <c:pt idx="31">
                  <c:v>3.3953935</c:v>
                </c:pt>
                <c:pt idx="32">
                  <c:v>7.0700156999999999</c:v>
                </c:pt>
                <c:pt idx="33">
                  <c:v>6.7836660000000002</c:v>
                </c:pt>
                <c:pt idx="34">
                  <c:v>8.1922986000000009</c:v>
                </c:pt>
                <c:pt idx="35">
                  <c:v>16.353598600000002</c:v>
                </c:pt>
                <c:pt idx="36">
                  <c:v>30.657246300000001</c:v>
                </c:pt>
                <c:pt idx="37">
                  <c:v>49.097586300000003</c:v>
                </c:pt>
                <c:pt idx="38">
                  <c:v>51.775044399999999</c:v>
                </c:pt>
                <c:pt idx="39">
                  <c:v>98.864731199999994</c:v>
                </c:pt>
                <c:pt idx="40">
                  <c:v>188.8950892</c:v>
                </c:pt>
                <c:pt idx="41">
                  <c:v>272.0807767</c:v>
                </c:pt>
                <c:pt idx="42">
                  <c:v>318.07749719999998</c:v>
                </c:pt>
                <c:pt idx="43">
                  <c:v>202.6021011</c:v>
                </c:pt>
                <c:pt idx="44">
                  <c:v>148.27426</c:v>
                </c:pt>
                <c:pt idx="45">
                  <c:v>92.326859299999995</c:v>
                </c:pt>
                <c:pt idx="46">
                  <c:v>92.573544499999997</c:v>
                </c:pt>
                <c:pt idx="47">
                  <c:v>91.152129500000001</c:v>
                </c:pt>
                <c:pt idx="48">
                  <c:v>111.9615496</c:v>
                </c:pt>
                <c:pt idx="49">
                  <c:v>135.26800840000001</c:v>
                </c:pt>
                <c:pt idx="50">
                  <c:v>178.8362315</c:v>
                </c:pt>
                <c:pt idx="51">
                  <c:v>197.39746289999999</c:v>
                </c:pt>
                <c:pt idx="52">
                  <c:v>222.4899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80.2096985</c:v>
                </c:pt>
                <c:pt idx="1">
                  <c:v>129.32208</c:v>
                </c:pt>
                <c:pt idx="2">
                  <c:v>106.7327816</c:v>
                </c:pt>
                <c:pt idx="3">
                  <c:v>77.867974799999999</c:v>
                </c:pt>
                <c:pt idx="4">
                  <c:v>59.822424699999999</c:v>
                </c:pt>
                <c:pt idx="5">
                  <c:v>47.042842299999997</c:v>
                </c:pt>
                <c:pt idx="6">
                  <c:v>40.378499699999999</c:v>
                </c:pt>
                <c:pt idx="7">
                  <c:v>45.687541699999997</c:v>
                </c:pt>
                <c:pt idx="8">
                  <c:v>62.428409299999998</c:v>
                </c:pt>
                <c:pt idx="9">
                  <c:v>34.5670614</c:v>
                </c:pt>
                <c:pt idx="10">
                  <c:v>28.994072899999999</c:v>
                </c:pt>
                <c:pt idx="11">
                  <c:v>19.795741400000001</c:v>
                </c:pt>
                <c:pt idx="12">
                  <c:v>17.287819800000001</c:v>
                </c:pt>
                <c:pt idx="13">
                  <c:v>10.3158604</c:v>
                </c:pt>
                <c:pt idx="14">
                  <c:v>8.3621362000000001</c:v>
                </c:pt>
                <c:pt idx="15">
                  <c:v>9.1960940999999998</c:v>
                </c:pt>
                <c:pt idx="16">
                  <c:v>6.4078274999999998</c:v>
                </c:pt>
                <c:pt idx="17">
                  <c:v>6.9640598000000002</c:v>
                </c:pt>
                <c:pt idx="18">
                  <c:v>1.6716816999999999</c:v>
                </c:pt>
                <c:pt idx="19">
                  <c:v>4.1800661000000003</c:v>
                </c:pt>
                <c:pt idx="20">
                  <c:v>2.2298220999999998</c:v>
                </c:pt>
                <c:pt idx="21">
                  <c:v>2.5090604000000001</c:v>
                </c:pt>
                <c:pt idx="22">
                  <c:v>0.27884819999999999</c:v>
                </c:pt>
                <c:pt idx="23">
                  <c:v>0.27891510000000003</c:v>
                </c:pt>
                <c:pt idx="24">
                  <c:v>0.27898200000000001</c:v>
                </c:pt>
                <c:pt idx="25">
                  <c:v>0</c:v>
                </c:pt>
                <c:pt idx="26">
                  <c:v>0.55804659999999995</c:v>
                </c:pt>
                <c:pt idx="27">
                  <c:v>1.39456</c:v>
                </c:pt>
                <c:pt idx="28">
                  <c:v>3.3456098000000001</c:v>
                </c:pt>
                <c:pt idx="29">
                  <c:v>2.7869126</c:v>
                </c:pt>
                <c:pt idx="30">
                  <c:v>2.7857248000000001</c:v>
                </c:pt>
                <c:pt idx="31">
                  <c:v>2.7842589000000002</c:v>
                </c:pt>
                <c:pt idx="32">
                  <c:v>1.3913933000000001</c:v>
                </c:pt>
                <c:pt idx="33">
                  <c:v>1.3906542</c:v>
                </c:pt>
                <c:pt idx="34">
                  <c:v>3.0576873999999998</c:v>
                </c:pt>
                <c:pt idx="35">
                  <c:v>2.2199836999999998</c:v>
                </c:pt>
                <c:pt idx="36">
                  <c:v>3.3225718</c:v>
                </c:pt>
                <c:pt idx="37">
                  <c:v>3.0389341999999999</c:v>
                </c:pt>
                <c:pt idx="38">
                  <c:v>5.5131046000000001</c:v>
                </c:pt>
                <c:pt idx="39">
                  <c:v>6.6050924999999996</c:v>
                </c:pt>
                <c:pt idx="40">
                  <c:v>9.3551032000000003</c:v>
                </c:pt>
                <c:pt idx="41">
                  <c:v>19.8072643</c:v>
                </c:pt>
                <c:pt idx="42">
                  <c:v>34.381463699999998</c:v>
                </c:pt>
                <c:pt idx="43">
                  <c:v>62.703511300000002</c:v>
                </c:pt>
                <c:pt idx="44">
                  <c:v>69.040067899999997</c:v>
                </c:pt>
                <c:pt idx="45">
                  <c:v>89.962694299999995</c:v>
                </c:pt>
                <c:pt idx="46">
                  <c:v>104.5650917</c:v>
                </c:pt>
                <c:pt idx="47">
                  <c:v>96.880556100000007</c:v>
                </c:pt>
                <c:pt idx="48">
                  <c:v>66.903812599999995</c:v>
                </c:pt>
                <c:pt idx="49">
                  <c:v>46.822539800000001</c:v>
                </c:pt>
                <c:pt idx="50">
                  <c:v>40.778202299999997</c:v>
                </c:pt>
                <c:pt idx="51">
                  <c:v>34.178233900000002</c:v>
                </c:pt>
                <c:pt idx="52">
                  <c:v>36.6675029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1.6626429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34</c:f>
              <c:numCache>
                <c:formatCode>m/d/yyyy</c:formatCode>
                <c:ptCount val="20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</c:numCache>
            </c:numRef>
          </c:cat>
          <c:val>
            <c:numRef>
              <c:f>Sheet1!$B$135:$B$334</c:f>
              <c:numCache>
                <c:formatCode>General</c:formatCode>
                <c:ptCount val="200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5</c:v>
                </c:pt>
                <c:pt idx="28">
                  <c:v>1</c:v>
                </c:pt>
                <c:pt idx="29">
                  <c:v>4</c:v>
                </c:pt>
                <c:pt idx="30">
                  <c:v>0</c:v>
                </c:pt>
                <c:pt idx="31">
                  <c:v>4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3</c:v>
                </c:pt>
                <c:pt idx="54">
                  <c:v>1</c:v>
                </c:pt>
                <c:pt idx="55">
                  <c:v>3</c:v>
                </c:pt>
                <c:pt idx="56">
                  <c:v>3</c:v>
                </c:pt>
                <c:pt idx="57">
                  <c:v>2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5</c:v>
                </c:pt>
                <c:pt idx="63">
                  <c:v>2</c:v>
                </c:pt>
                <c:pt idx="64">
                  <c:v>0</c:v>
                </c:pt>
                <c:pt idx="65">
                  <c:v>2</c:v>
                </c:pt>
                <c:pt idx="66">
                  <c:v>1</c:v>
                </c:pt>
                <c:pt idx="67">
                  <c:v>2</c:v>
                </c:pt>
                <c:pt idx="68">
                  <c:v>1</c:v>
                </c:pt>
                <c:pt idx="69">
                  <c:v>0</c:v>
                </c:pt>
                <c:pt idx="70">
                  <c:v>2</c:v>
                </c:pt>
                <c:pt idx="71">
                  <c:v>1</c:v>
                </c:pt>
                <c:pt idx="72">
                  <c:v>6</c:v>
                </c:pt>
                <c:pt idx="73">
                  <c:v>6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6</c:v>
                </c:pt>
                <c:pt idx="78">
                  <c:v>1</c:v>
                </c:pt>
                <c:pt idx="79">
                  <c:v>4</c:v>
                </c:pt>
                <c:pt idx="80">
                  <c:v>0</c:v>
                </c:pt>
                <c:pt idx="81">
                  <c:v>1</c:v>
                </c:pt>
                <c:pt idx="82">
                  <c:v>2</c:v>
                </c:pt>
                <c:pt idx="83">
                  <c:v>3</c:v>
                </c:pt>
                <c:pt idx="84">
                  <c:v>5</c:v>
                </c:pt>
                <c:pt idx="85">
                  <c:v>3</c:v>
                </c:pt>
                <c:pt idx="86">
                  <c:v>8</c:v>
                </c:pt>
                <c:pt idx="87">
                  <c:v>6</c:v>
                </c:pt>
                <c:pt idx="88">
                  <c:v>2</c:v>
                </c:pt>
                <c:pt idx="89">
                  <c:v>2</c:v>
                </c:pt>
                <c:pt idx="90">
                  <c:v>10</c:v>
                </c:pt>
                <c:pt idx="91">
                  <c:v>7</c:v>
                </c:pt>
                <c:pt idx="92">
                  <c:v>6</c:v>
                </c:pt>
                <c:pt idx="93">
                  <c:v>5</c:v>
                </c:pt>
                <c:pt idx="94">
                  <c:v>7</c:v>
                </c:pt>
                <c:pt idx="95">
                  <c:v>6</c:v>
                </c:pt>
                <c:pt idx="96">
                  <c:v>6</c:v>
                </c:pt>
                <c:pt idx="97">
                  <c:v>5</c:v>
                </c:pt>
                <c:pt idx="98">
                  <c:v>9</c:v>
                </c:pt>
                <c:pt idx="99">
                  <c:v>12</c:v>
                </c:pt>
                <c:pt idx="100">
                  <c:v>16</c:v>
                </c:pt>
                <c:pt idx="101">
                  <c:v>8</c:v>
                </c:pt>
                <c:pt idx="102">
                  <c:v>5</c:v>
                </c:pt>
                <c:pt idx="103">
                  <c:v>8</c:v>
                </c:pt>
                <c:pt idx="104">
                  <c:v>10</c:v>
                </c:pt>
                <c:pt idx="105">
                  <c:v>13</c:v>
                </c:pt>
                <c:pt idx="106">
                  <c:v>9</c:v>
                </c:pt>
                <c:pt idx="107">
                  <c:v>8</c:v>
                </c:pt>
                <c:pt idx="108">
                  <c:v>9</c:v>
                </c:pt>
                <c:pt idx="109">
                  <c:v>5</c:v>
                </c:pt>
                <c:pt idx="110">
                  <c:v>4</c:v>
                </c:pt>
                <c:pt idx="111">
                  <c:v>18</c:v>
                </c:pt>
                <c:pt idx="112">
                  <c:v>19</c:v>
                </c:pt>
                <c:pt idx="113">
                  <c:v>22</c:v>
                </c:pt>
                <c:pt idx="114">
                  <c:v>21</c:v>
                </c:pt>
                <c:pt idx="115">
                  <c:v>17</c:v>
                </c:pt>
                <c:pt idx="116">
                  <c:v>10</c:v>
                </c:pt>
                <c:pt idx="117">
                  <c:v>10</c:v>
                </c:pt>
                <c:pt idx="118">
                  <c:v>35</c:v>
                </c:pt>
                <c:pt idx="119">
                  <c:v>29</c:v>
                </c:pt>
                <c:pt idx="120">
                  <c:v>26</c:v>
                </c:pt>
                <c:pt idx="121">
                  <c:v>53</c:v>
                </c:pt>
                <c:pt idx="122">
                  <c:v>43</c:v>
                </c:pt>
                <c:pt idx="123">
                  <c:v>34</c:v>
                </c:pt>
                <c:pt idx="124">
                  <c:v>11</c:v>
                </c:pt>
                <c:pt idx="125">
                  <c:v>65</c:v>
                </c:pt>
                <c:pt idx="126">
                  <c:v>68</c:v>
                </c:pt>
                <c:pt idx="127">
                  <c:v>77</c:v>
                </c:pt>
                <c:pt idx="128">
                  <c:v>35</c:v>
                </c:pt>
                <c:pt idx="129">
                  <c:v>82</c:v>
                </c:pt>
                <c:pt idx="130">
                  <c:v>63</c:v>
                </c:pt>
                <c:pt idx="131">
                  <c:v>37</c:v>
                </c:pt>
                <c:pt idx="132">
                  <c:v>111</c:v>
                </c:pt>
                <c:pt idx="133">
                  <c:v>104</c:v>
                </c:pt>
                <c:pt idx="134">
                  <c:v>117</c:v>
                </c:pt>
                <c:pt idx="135">
                  <c:v>102</c:v>
                </c:pt>
                <c:pt idx="136">
                  <c:v>112</c:v>
                </c:pt>
                <c:pt idx="137">
                  <c:v>83</c:v>
                </c:pt>
                <c:pt idx="138">
                  <c:v>28</c:v>
                </c:pt>
                <c:pt idx="139">
                  <c:v>134</c:v>
                </c:pt>
                <c:pt idx="140">
                  <c:v>147</c:v>
                </c:pt>
                <c:pt idx="141">
                  <c:v>168</c:v>
                </c:pt>
                <c:pt idx="142">
                  <c:v>96</c:v>
                </c:pt>
                <c:pt idx="143">
                  <c:v>161</c:v>
                </c:pt>
                <c:pt idx="144">
                  <c:v>97</c:v>
                </c:pt>
                <c:pt idx="145">
                  <c:v>54</c:v>
                </c:pt>
                <c:pt idx="146">
                  <c:v>160</c:v>
                </c:pt>
                <c:pt idx="147">
                  <c:v>229</c:v>
                </c:pt>
                <c:pt idx="148">
                  <c:v>121</c:v>
                </c:pt>
                <c:pt idx="149">
                  <c:v>167</c:v>
                </c:pt>
                <c:pt idx="150">
                  <c:v>236</c:v>
                </c:pt>
                <c:pt idx="151">
                  <c:v>154</c:v>
                </c:pt>
                <c:pt idx="152">
                  <c:v>84</c:v>
                </c:pt>
                <c:pt idx="153">
                  <c:v>192</c:v>
                </c:pt>
                <c:pt idx="154">
                  <c:v>259</c:v>
                </c:pt>
                <c:pt idx="155">
                  <c:v>141</c:v>
                </c:pt>
                <c:pt idx="156">
                  <c:v>214</c:v>
                </c:pt>
                <c:pt idx="157">
                  <c:v>188</c:v>
                </c:pt>
                <c:pt idx="158">
                  <c:v>108</c:v>
                </c:pt>
                <c:pt idx="159">
                  <c:v>78</c:v>
                </c:pt>
                <c:pt idx="160">
                  <c:v>200</c:v>
                </c:pt>
                <c:pt idx="161">
                  <c:v>163</c:v>
                </c:pt>
                <c:pt idx="162">
                  <c:v>175</c:v>
                </c:pt>
                <c:pt idx="163">
                  <c:v>145</c:v>
                </c:pt>
                <c:pt idx="164">
                  <c:v>146</c:v>
                </c:pt>
                <c:pt idx="165">
                  <c:v>86</c:v>
                </c:pt>
                <c:pt idx="166">
                  <c:v>65</c:v>
                </c:pt>
                <c:pt idx="167">
                  <c:v>167</c:v>
                </c:pt>
                <c:pt idx="168">
                  <c:v>153</c:v>
                </c:pt>
                <c:pt idx="169">
                  <c:v>120</c:v>
                </c:pt>
                <c:pt idx="170">
                  <c:v>127</c:v>
                </c:pt>
                <c:pt idx="171">
                  <c:v>112</c:v>
                </c:pt>
                <c:pt idx="172">
                  <c:v>74</c:v>
                </c:pt>
                <c:pt idx="173">
                  <c:v>58</c:v>
                </c:pt>
                <c:pt idx="174">
                  <c:v>103</c:v>
                </c:pt>
                <c:pt idx="175">
                  <c:v>125</c:v>
                </c:pt>
                <c:pt idx="176">
                  <c:v>86</c:v>
                </c:pt>
                <c:pt idx="177">
                  <c:v>66</c:v>
                </c:pt>
                <c:pt idx="178">
                  <c:v>81</c:v>
                </c:pt>
                <c:pt idx="179">
                  <c:v>48</c:v>
                </c:pt>
                <c:pt idx="180">
                  <c:v>33</c:v>
                </c:pt>
                <c:pt idx="181">
                  <c:v>90</c:v>
                </c:pt>
                <c:pt idx="182">
                  <c:v>83</c:v>
                </c:pt>
                <c:pt idx="183">
                  <c:v>51</c:v>
                </c:pt>
                <c:pt idx="184">
                  <c:v>60</c:v>
                </c:pt>
                <c:pt idx="185">
                  <c:v>22</c:v>
                </c:pt>
                <c:pt idx="186">
                  <c:v>18</c:v>
                </c:pt>
                <c:pt idx="187">
                  <c:v>18</c:v>
                </c:pt>
                <c:pt idx="188">
                  <c:v>75</c:v>
                </c:pt>
                <c:pt idx="189">
                  <c:v>91</c:v>
                </c:pt>
                <c:pt idx="190">
                  <c:v>56</c:v>
                </c:pt>
                <c:pt idx="191">
                  <c:v>53</c:v>
                </c:pt>
                <c:pt idx="192">
                  <c:v>52</c:v>
                </c:pt>
                <c:pt idx="193">
                  <c:v>12</c:v>
                </c:pt>
                <c:pt idx="194">
                  <c:v>36</c:v>
                </c:pt>
                <c:pt idx="195">
                  <c:v>98</c:v>
                </c:pt>
                <c:pt idx="196">
                  <c:v>80</c:v>
                </c:pt>
                <c:pt idx="197">
                  <c:v>56</c:v>
                </c:pt>
                <c:pt idx="198">
                  <c:v>60</c:v>
                </c:pt>
                <c:pt idx="199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</c:v>
                </c:pt>
                <c:pt idx="10">
                  <c:v>1.2684381</c:v>
                </c:pt>
                <c:pt idx="11">
                  <c:v>3.8053143999999999</c:v>
                </c:pt>
                <c:pt idx="12">
                  <c:v>10.2884428</c:v>
                </c:pt>
                <c:pt idx="13">
                  <c:v>14.8001556</c:v>
                </c:pt>
                <c:pt idx="14">
                  <c:v>7.4720081</c:v>
                </c:pt>
                <c:pt idx="15">
                  <c:v>7.8964771000000002</c:v>
                </c:pt>
                <c:pt idx="16">
                  <c:v>4.5131445000000001</c:v>
                </c:pt>
                <c:pt idx="17">
                  <c:v>4.9370525000000001</c:v>
                </c:pt>
                <c:pt idx="18">
                  <c:v>2.9623276000000001</c:v>
                </c:pt>
                <c:pt idx="19">
                  <c:v>0.84639960000000003</c:v>
                </c:pt>
                <c:pt idx="20">
                  <c:v>0.70534889999999995</c:v>
                </c:pt>
                <c:pt idx="21">
                  <c:v>1.5518027000000001</c:v>
                </c:pt>
                <c:pt idx="22">
                  <c:v>1.6929425</c:v>
                </c:pt>
                <c:pt idx="23">
                  <c:v>2.1162766999999998</c:v>
                </c:pt>
                <c:pt idx="24">
                  <c:v>1.9752751</c:v>
                </c:pt>
                <c:pt idx="25">
                  <c:v>1.1287811999999999</c:v>
                </c:pt>
                <c:pt idx="26">
                  <c:v>1.8341917999999999</c:v>
                </c:pt>
                <c:pt idx="27">
                  <c:v>3.2447241</c:v>
                </c:pt>
                <c:pt idx="28">
                  <c:v>2.3979902000000002</c:v>
                </c:pt>
                <c:pt idx="29">
                  <c:v>5.3595782999999999</c:v>
                </c:pt>
                <c:pt idx="30">
                  <c:v>3.6667127000000002</c:v>
                </c:pt>
                <c:pt idx="31">
                  <c:v>3.5255559999999999</c:v>
                </c:pt>
                <c:pt idx="32">
                  <c:v>5.0766432000000004</c:v>
                </c:pt>
                <c:pt idx="33">
                  <c:v>5.2174991999999998</c:v>
                </c:pt>
                <c:pt idx="34">
                  <c:v>9.1653470000000006</c:v>
                </c:pt>
                <c:pt idx="35">
                  <c:v>14.3694556</c:v>
                </c:pt>
                <c:pt idx="36">
                  <c:v>29.405102400000001</c:v>
                </c:pt>
                <c:pt idx="37">
                  <c:v>37.657321099999997</c:v>
                </c:pt>
                <c:pt idx="38">
                  <c:v>54.869261000000002</c:v>
                </c:pt>
                <c:pt idx="39">
                  <c:v>92.493066499999998</c:v>
                </c:pt>
                <c:pt idx="40">
                  <c:v>196.6842259</c:v>
                </c:pt>
                <c:pt idx="41">
                  <c:v>333.2396402</c:v>
                </c:pt>
                <c:pt idx="42">
                  <c:v>470.485027</c:v>
                </c:pt>
                <c:pt idx="43">
                  <c:v>366.02843100000001</c:v>
                </c:pt>
                <c:pt idx="44">
                  <c:v>283.40775159999998</c:v>
                </c:pt>
                <c:pt idx="45">
                  <c:v>183.2703167</c:v>
                </c:pt>
                <c:pt idx="46">
                  <c:v>177.38118589999999</c:v>
                </c:pt>
                <c:pt idx="47">
                  <c:v>133.9763456</c:v>
                </c:pt>
                <c:pt idx="48">
                  <c:v>165.90263519999999</c:v>
                </c:pt>
                <c:pt idx="49">
                  <c:v>166.5820579</c:v>
                </c:pt>
                <c:pt idx="50">
                  <c:v>193.31263010000001</c:v>
                </c:pt>
                <c:pt idx="51">
                  <c:v>198.11904580000001</c:v>
                </c:pt>
                <c:pt idx="52">
                  <c:v>298.3166418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F3-4517-B6EE-FD6A9ECBCBF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41.80767499999999</c:v>
                </c:pt>
                <c:pt idx="1">
                  <c:v>186.47280380000001</c:v>
                </c:pt>
                <c:pt idx="2">
                  <c:v>148.9903994</c:v>
                </c:pt>
                <c:pt idx="3">
                  <c:v>115.8094456</c:v>
                </c:pt>
                <c:pt idx="4">
                  <c:v>96.175330500000001</c:v>
                </c:pt>
                <c:pt idx="5">
                  <c:v>88.830532099999999</c:v>
                </c:pt>
                <c:pt idx="6">
                  <c:v>88.278772099999998</c:v>
                </c:pt>
                <c:pt idx="7">
                  <c:v>101.1911123</c:v>
                </c:pt>
                <c:pt idx="8">
                  <c:v>107.57329900000001</c:v>
                </c:pt>
                <c:pt idx="9">
                  <c:v>93.511625100000003</c:v>
                </c:pt>
                <c:pt idx="10">
                  <c:v>80.288205500000004</c:v>
                </c:pt>
                <c:pt idx="11">
                  <c:v>62.2281847</c:v>
                </c:pt>
                <c:pt idx="12">
                  <c:v>41.832658199999997</c:v>
                </c:pt>
                <c:pt idx="13">
                  <c:v>36.126417500000002</c:v>
                </c:pt>
                <c:pt idx="14">
                  <c:v>22.956079200000001</c:v>
                </c:pt>
                <c:pt idx="15">
                  <c:v>19.066698899999999</c:v>
                </c:pt>
                <c:pt idx="16">
                  <c:v>8.8345196999999995</c:v>
                </c:pt>
                <c:pt idx="17">
                  <c:v>11.4502974</c:v>
                </c:pt>
                <c:pt idx="18">
                  <c:v>8.8318498000000005</c:v>
                </c:pt>
                <c:pt idx="19">
                  <c:v>4.1414555000000002</c:v>
                </c:pt>
                <c:pt idx="20">
                  <c:v>3.5905849000000001</c:v>
                </c:pt>
                <c:pt idx="21">
                  <c:v>1.2433342999999999</c:v>
                </c:pt>
                <c:pt idx="22">
                  <c:v>1.3817002</c:v>
                </c:pt>
                <c:pt idx="23">
                  <c:v>0.69092359999999997</c:v>
                </c:pt>
                <c:pt idx="24">
                  <c:v>0.96739330000000001</c:v>
                </c:pt>
                <c:pt idx="25">
                  <c:v>0.69106780000000001</c:v>
                </c:pt>
                <c:pt idx="26">
                  <c:v>1.1051708</c:v>
                </c:pt>
                <c:pt idx="27">
                  <c:v>1.1041137000000001</c:v>
                </c:pt>
                <c:pt idx="28">
                  <c:v>1.5167079000000001</c:v>
                </c:pt>
                <c:pt idx="29">
                  <c:v>1.2397598999999999</c:v>
                </c:pt>
                <c:pt idx="30">
                  <c:v>0.82593430000000001</c:v>
                </c:pt>
                <c:pt idx="31">
                  <c:v>0.96383680000000005</c:v>
                </c:pt>
                <c:pt idx="32">
                  <c:v>2.0660530000000001</c:v>
                </c:pt>
                <c:pt idx="33">
                  <c:v>0.96447819999999995</c:v>
                </c:pt>
                <c:pt idx="34">
                  <c:v>1.2404297</c:v>
                </c:pt>
                <c:pt idx="35">
                  <c:v>2.8929643999999999</c:v>
                </c:pt>
                <c:pt idx="36">
                  <c:v>2.3399893999999999</c:v>
                </c:pt>
                <c:pt idx="37">
                  <c:v>5.3637737999999997</c:v>
                </c:pt>
                <c:pt idx="38">
                  <c:v>6.5961246999999998</c:v>
                </c:pt>
                <c:pt idx="39">
                  <c:v>9.0644399</c:v>
                </c:pt>
                <c:pt idx="40">
                  <c:v>10.9869132</c:v>
                </c:pt>
                <c:pt idx="41">
                  <c:v>18.814933799999999</c:v>
                </c:pt>
                <c:pt idx="42">
                  <c:v>44.084262699999996</c:v>
                </c:pt>
                <c:pt idx="43">
                  <c:v>70.177655200000004</c:v>
                </c:pt>
                <c:pt idx="44">
                  <c:v>99.160568699999999</c:v>
                </c:pt>
                <c:pt idx="45">
                  <c:v>116.19841630000001</c:v>
                </c:pt>
                <c:pt idx="46">
                  <c:v>156.17681350000001</c:v>
                </c:pt>
                <c:pt idx="47">
                  <c:v>142.4522949</c:v>
                </c:pt>
                <c:pt idx="48">
                  <c:v>109.8117258</c:v>
                </c:pt>
                <c:pt idx="49">
                  <c:v>86.230015399999999</c:v>
                </c:pt>
                <c:pt idx="50">
                  <c:v>56.423933599999998</c:v>
                </c:pt>
                <c:pt idx="51">
                  <c:v>42.828144799999997</c:v>
                </c:pt>
                <c:pt idx="52">
                  <c:v>42.9153505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F3-4517-B6EE-FD6A9ECBCBFD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45.3885131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F3-4517-B6EE-FD6A9ECBC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34</c:f>
              <c:numCache>
                <c:formatCode>m/d/yyyy</c:formatCode>
                <c:ptCount val="20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</c:numCache>
            </c:numRef>
          </c:cat>
          <c:val>
            <c:numRef>
              <c:f>Sheet1!$B$135:$B$334</c:f>
              <c:numCache>
                <c:formatCode>General</c:formatCode>
                <c:ptCount val="200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4</c:v>
                </c:pt>
                <c:pt idx="19">
                  <c:v>0</c:v>
                </c:pt>
                <c:pt idx="20">
                  <c:v>3</c:v>
                </c:pt>
                <c:pt idx="21">
                  <c:v>0</c:v>
                </c:pt>
                <c:pt idx="22">
                  <c:v>4</c:v>
                </c:pt>
                <c:pt idx="23">
                  <c:v>2</c:v>
                </c:pt>
                <c:pt idx="24">
                  <c:v>5</c:v>
                </c:pt>
                <c:pt idx="25">
                  <c:v>1</c:v>
                </c:pt>
                <c:pt idx="26">
                  <c:v>1</c:v>
                </c:pt>
                <c:pt idx="27">
                  <c:v>4</c:v>
                </c:pt>
                <c:pt idx="28">
                  <c:v>5</c:v>
                </c:pt>
                <c:pt idx="29">
                  <c:v>1</c:v>
                </c:pt>
                <c:pt idx="30">
                  <c:v>3</c:v>
                </c:pt>
                <c:pt idx="31">
                  <c:v>2</c:v>
                </c:pt>
                <c:pt idx="32">
                  <c:v>0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1</c:v>
                </c:pt>
                <c:pt idx="37">
                  <c:v>4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4</c:v>
                </c:pt>
                <c:pt idx="43">
                  <c:v>3</c:v>
                </c:pt>
                <c:pt idx="44">
                  <c:v>1</c:v>
                </c:pt>
                <c:pt idx="45">
                  <c:v>3</c:v>
                </c:pt>
                <c:pt idx="46">
                  <c:v>1</c:v>
                </c:pt>
                <c:pt idx="47">
                  <c:v>0</c:v>
                </c:pt>
                <c:pt idx="48">
                  <c:v>8</c:v>
                </c:pt>
                <c:pt idx="49">
                  <c:v>1</c:v>
                </c:pt>
                <c:pt idx="50">
                  <c:v>1</c:v>
                </c:pt>
                <c:pt idx="51">
                  <c:v>2</c:v>
                </c:pt>
                <c:pt idx="52">
                  <c:v>7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3</c:v>
                </c:pt>
                <c:pt idx="64">
                  <c:v>5</c:v>
                </c:pt>
                <c:pt idx="65">
                  <c:v>2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5</c:v>
                </c:pt>
                <c:pt idx="73">
                  <c:v>6</c:v>
                </c:pt>
                <c:pt idx="74">
                  <c:v>5</c:v>
                </c:pt>
                <c:pt idx="75">
                  <c:v>1</c:v>
                </c:pt>
                <c:pt idx="76">
                  <c:v>5</c:v>
                </c:pt>
                <c:pt idx="77">
                  <c:v>4</c:v>
                </c:pt>
                <c:pt idx="78">
                  <c:v>1</c:v>
                </c:pt>
                <c:pt idx="79">
                  <c:v>3</c:v>
                </c:pt>
                <c:pt idx="80">
                  <c:v>2</c:v>
                </c:pt>
                <c:pt idx="81">
                  <c:v>0</c:v>
                </c:pt>
                <c:pt idx="82">
                  <c:v>3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7</c:v>
                </c:pt>
                <c:pt idx="87">
                  <c:v>4</c:v>
                </c:pt>
                <c:pt idx="88">
                  <c:v>2</c:v>
                </c:pt>
                <c:pt idx="89">
                  <c:v>6</c:v>
                </c:pt>
                <c:pt idx="90">
                  <c:v>8</c:v>
                </c:pt>
                <c:pt idx="91">
                  <c:v>9</c:v>
                </c:pt>
                <c:pt idx="92">
                  <c:v>8</c:v>
                </c:pt>
                <c:pt idx="93">
                  <c:v>7</c:v>
                </c:pt>
                <c:pt idx="94">
                  <c:v>5</c:v>
                </c:pt>
                <c:pt idx="95">
                  <c:v>4</c:v>
                </c:pt>
                <c:pt idx="96">
                  <c:v>2</c:v>
                </c:pt>
                <c:pt idx="97">
                  <c:v>7</c:v>
                </c:pt>
                <c:pt idx="98">
                  <c:v>6</c:v>
                </c:pt>
                <c:pt idx="99">
                  <c:v>9</c:v>
                </c:pt>
                <c:pt idx="100">
                  <c:v>12</c:v>
                </c:pt>
                <c:pt idx="101">
                  <c:v>11</c:v>
                </c:pt>
                <c:pt idx="102">
                  <c:v>4</c:v>
                </c:pt>
                <c:pt idx="103">
                  <c:v>7</c:v>
                </c:pt>
                <c:pt idx="104">
                  <c:v>10</c:v>
                </c:pt>
                <c:pt idx="105">
                  <c:v>13</c:v>
                </c:pt>
                <c:pt idx="106">
                  <c:v>13</c:v>
                </c:pt>
                <c:pt idx="107">
                  <c:v>16</c:v>
                </c:pt>
                <c:pt idx="108">
                  <c:v>10</c:v>
                </c:pt>
                <c:pt idx="109">
                  <c:v>8</c:v>
                </c:pt>
                <c:pt idx="110">
                  <c:v>5</c:v>
                </c:pt>
                <c:pt idx="111">
                  <c:v>19</c:v>
                </c:pt>
                <c:pt idx="112">
                  <c:v>31</c:v>
                </c:pt>
                <c:pt idx="113">
                  <c:v>18</c:v>
                </c:pt>
                <c:pt idx="114">
                  <c:v>19</c:v>
                </c:pt>
                <c:pt idx="115">
                  <c:v>14</c:v>
                </c:pt>
                <c:pt idx="116">
                  <c:v>9</c:v>
                </c:pt>
                <c:pt idx="117">
                  <c:v>13</c:v>
                </c:pt>
                <c:pt idx="118">
                  <c:v>39</c:v>
                </c:pt>
                <c:pt idx="119">
                  <c:v>55</c:v>
                </c:pt>
                <c:pt idx="120">
                  <c:v>50</c:v>
                </c:pt>
                <c:pt idx="121">
                  <c:v>54</c:v>
                </c:pt>
                <c:pt idx="122">
                  <c:v>46</c:v>
                </c:pt>
                <c:pt idx="123">
                  <c:v>28</c:v>
                </c:pt>
                <c:pt idx="124">
                  <c:v>22</c:v>
                </c:pt>
                <c:pt idx="125">
                  <c:v>81</c:v>
                </c:pt>
                <c:pt idx="126">
                  <c:v>87</c:v>
                </c:pt>
                <c:pt idx="127">
                  <c:v>65</c:v>
                </c:pt>
                <c:pt idx="128">
                  <c:v>41</c:v>
                </c:pt>
                <c:pt idx="129">
                  <c:v>83</c:v>
                </c:pt>
                <c:pt idx="130">
                  <c:v>55</c:v>
                </c:pt>
                <c:pt idx="131">
                  <c:v>42</c:v>
                </c:pt>
                <c:pt idx="132">
                  <c:v>136</c:v>
                </c:pt>
                <c:pt idx="133">
                  <c:v>128</c:v>
                </c:pt>
                <c:pt idx="134">
                  <c:v>107</c:v>
                </c:pt>
                <c:pt idx="135">
                  <c:v>116</c:v>
                </c:pt>
                <c:pt idx="136">
                  <c:v>133</c:v>
                </c:pt>
                <c:pt idx="137">
                  <c:v>55</c:v>
                </c:pt>
                <c:pt idx="138">
                  <c:v>39</c:v>
                </c:pt>
                <c:pt idx="139">
                  <c:v>129</c:v>
                </c:pt>
                <c:pt idx="140">
                  <c:v>150</c:v>
                </c:pt>
                <c:pt idx="141">
                  <c:v>143</c:v>
                </c:pt>
                <c:pt idx="142">
                  <c:v>121</c:v>
                </c:pt>
                <c:pt idx="143">
                  <c:v>170</c:v>
                </c:pt>
                <c:pt idx="144">
                  <c:v>97</c:v>
                </c:pt>
                <c:pt idx="145">
                  <c:v>53</c:v>
                </c:pt>
                <c:pt idx="146">
                  <c:v>166</c:v>
                </c:pt>
                <c:pt idx="147">
                  <c:v>201</c:v>
                </c:pt>
                <c:pt idx="148">
                  <c:v>144</c:v>
                </c:pt>
                <c:pt idx="149">
                  <c:v>166</c:v>
                </c:pt>
                <c:pt idx="150">
                  <c:v>257</c:v>
                </c:pt>
                <c:pt idx="151">
                  <c:v>125</c:v>
                </c:pt>
                <c:pt idx="152">
                  <c:v>91</c:v>
                </c:pt>
                <c:pt idx="153">
                  <c:v>205</c:v>
                </c:pt>
                <c:pt idx="154">
                  <c:v>216</c:v>
                </c:pt>
                <c:pt idx="155">
                  <c:v>184</c:v>
                </c:pt>
                <c:pt idx="156">
                  <c:v>262</c:v>
                </c:pt>
                <c:pt idx="157">
                  <c:v>158</c:v>
                </c:pt>
                <c:pt idx="158">
                  <c:v>117</c:v>
                </c:pt>
                <c:pt idx="159">
                  <c:v>83</c:v>
                </c:pt>
                <c:pt idx="160">
                  <c:v>210</c:v>
                </c:pt>
                <c:pt idx="161">
                  <c:v>191</c:v>
                </c:pt>
                <c:pt idx="162">
                  <c:v>171</c:v>
                </c:pt>
                <c:pt idx="163">
                  <c:v>131</c:v>
                </c:pt>
                <c:pt idx="164">
                  <c:v>161</c:v>
                </c:pt>
                <c:pt idx="165">
                  <c:v>100</c:v>
                </c:pt>
                <c:pt idx="166">
                  <c:v>66</c:v>
                </c:pt>
                <c:pt idx="167">
                  <c:v>199</c:v>
                </c:pt>
                <c:pt idx="168">
                  <c:v>168</c:v>
                </c:pt>
                <c:pt idx="169">
                  <c:v>142</c:v>
                </c:pt>
                <c:pt idx="170">
                  <c:v>116</c:v>
                </c:pt>
                <c:pt idx="171">
                  <c:v>99</c:v>
                </c:pt>
                <c:pt idx="172">
                  <c:v>78</c:v>
                </c:pt>
                <c:pt idx="173">
                  <c:v>62</c:v>
                </c:pt>
                <c:pt idx="174">
                  <c:v>122</c:v>
                </c:pt>
                <c:pt idx="175">
                  <c:v>172</c:v>
                </c:pt>
                <c:pt idx="176">
                  <c:v>97</c:v>
                </c:pt>
                <c:pt idx="177">
                  <c:v>89</c:v>
                </c:pt>
                <c:pt idx="178">
                  <c:v>97</c:v>
                </c:pt>
                <c:pt idx="179">
                  <c:v>64</c:v>
                </c:pt>
                <c:pt idx="180">
                  <c:v>42</c:v>
                </c:pt>
                <c:pt idx="181">
                  <c:v>106</c:v>
                </c:pt>
                <c:pt idx="182">
                  <c:v>97</c:v>
                </c:pt>
                <c:pt idx="183">
                  <c:v>44</c:v>
                </c:pt>
                <c:pt idx="184">
                  <c:v>75</c:v>
                </c:pt>
                <c:pt idx="185">
                  <c:v>22</c:v>
                </c:pt>
                <c:pt idx="186">
                  <c:v>14</c:v>
                </c:pt>
                <c:pt idx="187">
                  <c:v>22</c:v>
                </c:pt>
                <c:pt idx="188">
                  <c:v>70</c:v>
                </c:pt>
                <c:pt idx="189">
                  <c:v>95</c:v>
                </c:pt>
                <c:pt idx="190">
                  <c:v>67</c:v>
                </c:pt>
                <c:pt idx="191">
                  <c:v>65</c:v>
                </c:pt>
                <c:pt idx="192">
                  <c:v>75</c:v>
                </c:pt>
                <c:pt idx="193">
                  <c:v>15</c:v>
                </c:pt>
                <c:pt idx="194">
                  <c:v>27</c:v>
                </c:pt>
                <c:pt idx="195">
                  <c:v>100</c:v>
                </c:pt>
                <c:pt idx="196">
                  <c:v>96</c:v>
                </c:pt>
                <c:pt idx="197">
                  <c:v>84</c:v>
                </c:pt>
                <c:pt idx="198">
                  <c:v>73</c:v>
                </c:pt>
                <c:pt idx="199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9">
                  <c:v>0.32531480000000002</c:v>
                </c:pt>
                <c:pt idx="10">
                  <c:v>0.48797220000000002</c:v>
                </c:pt>
                <c:pt idx="11">
                  <c:v>3.9037782999999999</c:v>
                </c:pt>
                <c:pt idx="12">
                  <c:v>9.2714736000000002</c:v>
                </c:pt>
                <c:pt idx="13">
                  <c:v>10.726509699999999</c:v>
                </c:pt>
                <c:pt idx="14">
                  <c:v>10.873199</c:v>
                </c:pt>
                <c:pt idx="15">
                  <c:v>9.0748513000000006</c:v>
                </c:pt>
                <c:pt idx="16">
                  <c:v>3.5599511000000001</c:v>
                </c:pt>
                <c:pt idx="17">
                  <c:v>3.7172678000000001</c:v>
                </c:pt>
                <c:pt idx="18">
                  <c:v>1.292618</c:v>
                </c:pt>
                <c:pt idx="19">
                  <c:v>0.80774000000000001</c:v>
                </c:pt>
                <c:pt idx="20">
                  <c:v>0.64607510000000001</c:v>
                </c:pt>
                <c:pt idx="21">
                  <c:v>1.6148853000000001</c:v>
                </c:pt>
                <c:pt idx="22">
                  <c:v>2.2602883</c:v>
                </c:pt>
                <c:pt idx="23">
                  <c:v>1.6140721</c:v>
                </c:pt>
                <c:pt idx="24">
                  <c:v>2.0977486000000001</c:v>
                </c:pt>
                <c:pt idx="25">
                  <c:v>1.6132336</c:v>
                </c:pt>
                <c:pt idx="26">
                  <c:v>1.4515823999999999</c:v>
                </c:pt>
                <c:pt idx="27">
                  <c:v>2.7415153999999999</c:v>
                </c:pt>
                <c:pt idx="28">
                  <c:v>3.0636415000000001</c:v>
                </c:pt>
                <c:pt idx="29">
                  <c:v>4.0305808000000001</c:v>
                </c:pt>
                <c:pt idx="30">
                  <c:v>4.0298335999999999</c:v>
                </c:pt>
                <c:pt idx="31">
                  <c:v>4.9951980999999996</c:v>
                </c:pt>
                <c:pt idx="32">
                  <c:v>8.0537215</c:v>
                </c:pt>
                <c:pt idx="33">
                  <c:v>5.6354809000000001</c:v>
                </c:pt>
                <c:pt idx="34">
                  <c:v>5.3113410999999999</c:v>
                </c:pt>
                <c:pt idx="35">
                  <c:v>14.952032900000001</c:v>
                </c:pt>
                <c:pt idx="36">
                  <c:v>29.219955599999999</c:v>
                </c:pt>
                <c:pt idx="37">
                  <c:v>45.852953100000001</c:v>
                </c:pt>
                <c:pt idx="38">
                  <c:v>47.389874499999998</c:v>
                </c:pt>
                <c:pt idx="39">
                  <c:v>99.105176099999994</c:v>
                </c:pt>
                <c:pt idx="40">
                  <c:v>174.7757842</c:v>
                </c:pt>
                <c:pt idx="41">
                  <c:v>317.17342689999998</c:v>
                </c:pt>
                <c:pt idx="42">
                  <c:v>416.6673298</c:v>
                </c:pt>
                <c:pt idx="43">
                  <c:v>340.63213949999999</c:v>
                </c:pt>
                <c:pt idx="44">
                  <c:v>252.63597780000001</c:v>
                </c:pt>
                <c:pt idx="45">
                  <c:v>167.12415590000001</c:v>
                </c:pt>
                <c:pt idx="46">
                  <c:v>136.3112419</c:v>
                </c:pt>
                <c:pt idx="47">
                  <c:v>108.0818982</c:v>
                </c:pt>
                <c:pt idx="48">
                  <c:v>124.0785685</c:v>
                </c:pt>
                <c:pt idx="49">
                  <c:v>138.5377503</c:v>
                </c:pt>
                <c:pt idx="50">
                  <c:v>164.8667805</c:v>
                </c:pt>
                <c:pt idx="51">
                  <c:v>181.47219899999999</c:v>
                </c:pt>
                <c:pt idx="52">
                  <c:v>312.4712802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85A-4581-8104-DBF08C71066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219.35549639999999</c:v>
                </c:pt>
                <c:pt idx="1">
                  <c:v>181.02517219999999</c:v>
                </c:pt>
                <c:pt idx="2">
                  <c:v>142.86597810000001</c:v>
                </c:pt>
                <c:pt idx="3">
                  <c:v>125.7655377</c:v>
                </c:pt>
                <c:pt idx="4">
                  <c:v>104.0073795</c:v>
                </c:pt>
                <c:pt idx="5">
                  <c:v>101.1344716</c:v>
                </c:pt>
                <c:pt idx="6">
                  <c:v>98.105616100000006</c:v>
                </c:pt>
                <c:pt idx="7">
                  <c:v>110.7366468</c:v>
                </c:pt>
                <c:pt idx="8">
                  <c:v>132.2121166</c:v>
                </c:pt>
                <c:pt idx="9">
                  <c:v>111.02031700000001</c:v>
                </c:pt>
                <c:pt idx="10">
                  <c:v>96.171268400000002</c:v>
                </c:pt>
                <c:pt idx="11">
                  <c:v>64.963288000000006</c:v>
                </c:pt>
                <c:pt idx="12">
                  <c:v>52.833546499999997</c:v>
                </c:pt>
                <c:pt idx="13">
                  <c:v>27.2900095</c:v>
                </c:pt>
                <c:pt idx="14">
                  <c:v>27.221597599999999</c:v>
                </c:pt>
                <c:pt idx="15">
                  <c:v>19.9432996</c:v>
                </c:pt>
                <c:pt idx="16">
                  <c:v>12.0891783</c:v>
                </c:pt>
                <c:pt idx="17">
                  <c:v>13.289016200000001</c:v>
                </c:pt>
                <c:pt idx="18">
                  <c:v>10.2374163</c:v>
                </c:pt>
                <c:pt idx="19">
                  <c:v>6.7263785</c:v>
                </c:pt>
                <c:pt idx="20">
                  <c:v>3.2118931000000002</c:v>
                </c:pt>
                <c:pt idx="21">
                  <c:v>1.3771679999999999</c:v>
                </c:pt>
                <c:pt idx="22">
                  <c:v>1.5304982</c:v>
                </c:pt>
                <c:pt idx="23">
                  <c:v>0.45920850000000002</c:v>
                </c:pt>
                <c:pt idx="24">
                  <c:v>1.0716243000000001</c:v>
                </c:pt>
                <c:pt idx="25">
                  <c:v>0.91865319999999995</c:v>
                </c:pt>
                <c:pt idx="26">
                  <c:v>0.45920490000000003</c:v>
                </c:pt>
                <c:pt idx="27">
                  <c:v>2.2946480999999999</c:v>
                </c:pt>
                <c:pt idx="28">
                  <c:v>2.9048389999999999</c:v>
                </c:pt>
                <c:pt idx="29">
                  <c:v>2.2919238000000002</c:v>
                </c:pt>
                <c:pt idx="30">
                  <c:v>2.1385995000000002</c:v>
                </c:pt>
                <c:pt idx="31">
                  <c:v>1.9878496000000001</c:v>
                </c:pt>
                <c:pt idx="32">
                  <c:v>2.1431436000000001</c:v>
                </c:pt>
                <c:pt idx="33">
                  <c:v>2.4520320999999998</c:v>
                </c:pt>
                <c:pt idx="34">
                  <c:v>1.3807852</c:v>
                </c:pt>
                <c:pt idx="35">
                  <c:v>3.9912499000000001</c:v>
                </c:pt>
                <c:pt idx="36">
                  <c:v>2.7641065</c:v>
                </c:pt>
                <c:pt idx="37">
                  <c:v>6.6053850000000001</c:v>
                </c:pt>
                <c:pt idx="38">
                  <c:v>5.5319592999999996</c:v>
                </c:pt>
                <c:pt idx="39">
                  <c:v>9.9936039999999995</c:v>
                </c:pt>
                <c:pt idx="40">
                  <c:v>15.8471046</c:v>
                </c:pt>
                <c:pt idx="41">
                  <c:v>29.406738300000001</c:v>
                </c:pt>
                <c:pt idx="42">
                  <c:v>55.927119099999999</c:v>
                </c:pt>
                <c:pt idx="43">
                  <c:v>87.569859300000005</c:v>
                </c:pt>
                <c:pt idx="44">
                  <c:v>112.2980216</c:v>
                </c:pt>
                <c:pt idx="45">
                  <c:v>139.3641107</c:v>
                </c:pt>
                <c:pt idx="46">
                  <c:v>181.1278101</c:v>
                </c:pt>
                <c:pt idx="47">
                  <c:v>171.02573720000001</c:v>
                </c:pt>
                <c:pt idx="48">
                  <c:v>140.03848730000001</c:v>
                </c:pt>
                <c:pt idx="49">
                  <c:v>107.46336959999999</c:v>
                </c:pt>
                <c:pt idx="50">
                  <c:v>78.422637600000002</c:v>
                </c:pt>
                <c:pt idx="51">
                  <c:v>51.991136699999998</c:v>
                </c:pt>
                <c:pt idx="52">
                  <c:v>70.42100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5A-4581-8104-DBF08C71066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59.693069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85A-4581-8104-DBF08C71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34</c:f>
              <c:numCache>
                <c:formatCode>m/d/yyyy</c:formatCode>
                <c:ptCount val="200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9</c:v>
                </c:pt>
                <c:pt idx="21">
                  <c:v>44390</c:v>
                </c:pt>
                <c:pt idx="22">
                  <c:v>44391</c:v>
                </c:pt>
                <c:pt idx="23">
                  <c:v>44392</c:v>
                </c:pt>
                <c:pt idx="24">
                  <c:v>44393</c:v>
                </c:pt>
                <c:pt idx="25">
                  <c:v>44394</c:v>
                </c:pt>
                <c:pt idx="26">
                  <c:v>44395</c:v>
                </c:pt>
                <c:pt idx="27">
                  <c:v>44396</c:v>
                </c:pt>
                <c:pt idx="28">
                  <c:v>44397</c:v>
                </c:pt>
                <c:pt idx="29">
                  <c:v>44398</c:v>
                </c:pt>
                <c:pt idx="30">
                  <c:v>44399</c:v>
                </c:pt>
                <c:pt idx="31">
                  <c:v>44400</c:v>
                </c:pt>
                <c:pt idx="32">
                  <c:v>44401</c:v>
                </c:pt>
                <c:pt idx="33">
                  <c:v>44402</c:v>
                </c:pt>
                <c:pt idx="34">
                  <c:v>44403</c:v>
                </c:pt>
                <c:pt idx="35">
                  <c:v>44404</c:v>
                </c:pt>
                <c:pt idx="36">
                  <c:v>44405</c:v>
                </c:pt>
                <c:pt idx="37">
                  <c:v>44406</c:v>
                </c:pt>
                <c:pt idx="38">
                  <c:v>44407</c:v>
                </c:pt>
                <c:pt idx="39">
                  <c:v>44408</c:v>
                </c:pt>
                <c:pt idx="40">
                  <c:v>44409</c:v>
                </c:pt>
                <c:pt idx="41">
                  <c:v>44410</c:v>
                </c:pt>
                <c:pt idx="42">
                  <c:v>44411</c:v>
                </c:pt>
                <c:pt idx="43">
                  <c:v>44412</c:v>
                </c:pt>
                <c:pt idx="44">
                  <c:v>44413</c:v>
                </c:pt>
                <c:pt idx="45">
                  <c:v>44414</c:v>
                </c:pt>
                <c:pt idx="46">
                  <c:v>44415</c:v>
                </c:pt>
                <c:pt idx="47">
                  <c:v>44416</c:v>
                </c:pt>
                <c:pt idx="48">
                  <c:v>44417</c:v>
                </c:pt>
                <c:pt idx="49">
                  <c:v>44418</c:v>
                </c:pt>
                <c:pt idx="50">
                  <c:v>44419</c:v>
                </c:pt>
                <c:pt idx="51">
                  <c:v>44420</c:v>
                </c:pt>
                <c:pt idx="52">
                  <c:v>44421</c:v>
                </c:pt>
                <c:pt idx="53">
                  <c:v>44422</c:v>
                </c:pt>
                <c:pt idx="54">
                  <c:v>44423</c:v>
                </c:pt>
                <c:pt idx="55">
                  <c:v>44424</c:v>
                </c:pt>
                <c:pt idx="56">
                  <c:v>44425</c:v>
                </c:pt>
                <c:pt idx="57">
                  <c:v>44426</c:v>
                </c:pt>
                <c:pt idx="58">
                  <c:v>44427</c:v>
                </c:pt>
                <c:pt idx="59">
                  <c:v>44428</c:v>
                </c:pt>
                <c:pt idx="60">
                  <c:v>44429</c:v>
                </c:pt>
                <c:pt idx="61">
                  <c:v>44430</c:v>
                </c:pt>
                <c:pt idx="62">
                  <c:v>44431</c:v>
                </c:pt>
                <c:pt idx="63">
                  <c:v>44432</c:v>
                </c:pt>
                <c:pt idx="64">
                  <c:v>44433</c:v>
                </c:pt>
                <c:pt idx="65">
                  <c:v>44434</c:v>
                </c:pt>
                <c:pt idx="66">
                  <c:v>44435</c:v>
                </c:pt>
                <c:pt idx="67">
                  <c:v>44436</c:v>
                </c:pt>
                <c:pt idx="68">
                  <c:v>44437</c:v>
                </c:pt>
                <c:pt idx="69">
                  <c:v>44438</c:v>
                </c:pt>
                <c:pt idx="70">
                  <c:v>44439</c:v>
                </c:pt>
                <c:pt idx="71">
                  <c:v>44440</c:v>
                </c:pt>
                <c:pt idx="72">
                  <c:v>44441</c:v>
                </c:pt>
                <c:pt idx="73">
                  <c:v>44442</c:v>
                </c:pt>
                <c:pt idx="74">
                  <c:v>44443</c:v>
                </c:pt>
                <c:pt idx="75">
                  <c:v>44444</c:v>
                </c:pt>
                <c:pt idx="76">
                  <c:v>44445</c:v>
                </c:pt>
                <c:pt idx="77">
                  <c:v>44446</c:v>
                </c:pt>
                <c:pt idx="78">
                  <c:v>44447</c:v>
                </c:pt>
                <c:pt idx="79">
                  <c:v>44448</c:v>
                </c:pt>
                <c:pt idx="80">
                  <c:v>44449</c:v>
                </c:pt>
                <c:pt idx="81">
                  <c:v>44450</c:v>
                </c:pt>
                <c:pt idx="82">
                  <c:v>44451</c:v>
                </c:pt>
                <c:pt idx="83">
                  <c:v>44452</c:v>
                </c:pt>
                <c:pt idx="84">
                  <c:v>44453</c:v>
                </c:pt>
                <c:pt idx="85">
                  <c:v>44454</c:v>
                </c:pt>
                <c:pt idx="86">
                  <c:v>44455</c:v>
                </c:pt>
                <c:pt idx="87">
                  <c:v>44456</c:v>
                </c:pt>
                <c:pt idx="88">
                  <c:v>44457</c:v>
                </c:pt>
                <c:pt idx="89">
                  <c:v>44458</c:v>
                </c:pt>
                <c:pt idx="90">
                  <c:v>44459</c:v>
                </c:pt>
                <c:pt idx="91">
                  <c:v>44460</c:v>
                </c:pt>
                <c:pt idx="92">
                  <c:v>44461</c:v>
                </c:pt>
                <c:pt idx="93">
                  <c:v>44462</c:v>
                </c:pt>
                <c:pt idx="94">
                  <c:v>44463</c:v>
                </c:pt>
                <c:pt idx="95">
                  <c:v>44464</c:v>
                </c:pt>
                <c:pt idx="96">
                  <c:v>44465</c:v>
                </c:pt>
                <c:pt idx="97">
                  <c:v>44466</c:v>
                </c:pt>
                <c:pt idx="98">
                  <c:v>44467</c:v>
                </c:pt>
                <c:pt idx="99">
                  <c:v>44468</c:v>
                </c:pt>
                <c:pt idx="100">
                  <c:v>44469</c:v>
                </c:pt>
                <c:pt idx="101">
                  <c:v>44470</c:v>
                </c:pt>
                <c:pt idx="102">
                  <c:v>44471</c:v>
                </c:pt>
                <c:pt idx="103">
                  <c:v>44472</c:v>
                </c:pt>
                <c:pt idx="104">
                  <c:v>44473</c:v>
                </c:pt>
                <c:pt idx="105">
                  <c:v>44474</c:v>
                </c:pt>
                <c:pt idx="106">
                  <c:v>44475</c:v>
                </c:pt>
                <c:pt idx="107">
                  <c:v>44476</c:v>
                </c:pt>
                <c:pt idx="108">
                  <c:v>44477</c:v>
                </c:pt>
                <c:pt idx="109">
                  <c:v>44478</c:v>
                </c:pt>
                <c:pt idx="110">
                  <c:v>44479</c:v>
                </c:pt>
                <c:pt idx="111">
                  <c:v>44480</c:v>
                </c:pt>
                <c:pt idx="112">
                  <c:v>44481</c:v>
                </c:pt>
                <c:pt idx="113">
                  <c:v>44482</c:v>
                </c:pt>
                <c:pt idx="114">
                  <c:v>44483</c:v>
                </c:pt>
                <c:pt idx="115">
                  <c:v>44484</c:v>
                </c:pt>
                <c:pt idx="116">
                  <c:v>44485</c:v>
                </c:pt>
                <c:pt idx="117">
                  <c:v>44486</c:v>
                </c:pt>
                <c:pt idx="118">
                  <c:v>44487</c:v>
                </c:pt>
                <c:pt idx="119">
                  <c:v>44488</c:v>
                </c:pt>
                <c:pt idx="120">
                  <c:v>44489</c:v>
                </c:pt>
                <c:pt idx="121">
                  <c:v>44490</c:v>
                </c:pt>
                <c:pt idx="122">
                  <c:v>44491</c:v>
                </c:pt>
                <c:pt idx="123">
                  <c:v>44492</c:v>
                </c:pt>
                <c:pt idx="124">
                  <c:v>44493</c:v>
                </c:pt>
                <c:pt idx="125">
                  <c:v>44494</c:v>
                </c:pt>
                <c:pt idx="126">
                  <c:v>44495</c:v>
                </c:pt>
                <c:pt idx="127">
                  <c:v>44496</c:v>
                </c:pt>
                <c:pt idx="128">
                  <c:v>44497</c:v>
                </c:pt>
                <c:pt idx="129">
                  <c:v>44498</c:v>
                </c:pt>
                <c:pt idx="130">
                  <c:v>44499</c:v>
                </c:pt>
                <c:pt idx="131">
                  <c:v>44500</c:v>
                </c:pt>
                <c:pt idx="132">
                  <c:v>44501</c:v>
                </c:pt>
                <c:pt idx="133">
                  <c:v>44502</c:v>
                </c:pt>
                <c:pt idx="134">
                  <c:v>44503</c:v>
                </c:pt>
                <c:pt idx="135">
                  <c:v>44504</c:v>
                </c:pt>
                <c:pt idx="136">
                  <c:v>44505</c:v>
                </c:pt>
                <c:pt idx="137">
                  <c:v>44506</c:v>
                </c:pt>
                <c:pt idx="138">
                  <c:v>44507</c:v>
                </c:pt>
                <c:pt idx="139">
                  <c:v>44508</c:v>
                </c:pt>
                <c:pt idx="140">
                  <c:v>44509</c:v>
                </c:pt>
                <c:pt idx="141">
                  <c:v>44510</c:v>
                </c:pt>
                <c:pt idx="142">
                  <c:v>44511</c:v>
                </c:pt>
                <c:pt idx="143">
                  <c:v>44512</c:v>
                </c:pt>
                <c:pt idx="144">
                  <c:v>44513</c:v>
                </c:pt>
                <c:pt idx="145">
                  <c:v>44514</c:v>
                </c:pt>
                <c:pt idx="146">
                  <c:v>44515</c:v>
                </c:pt>
                <c:pt idx="147">
                  <c:v>44516</c:v>
                </c:pt>
                <c:pt idx="148">
                  <c:v>44517</c:v>
                </c:pt>
                <c:pt idx="149">
                  <c:v>44518</c:v>
                </c:pt>
                <c:pt idx="150">
                  <c:v>44519</c:v>
                </c:pt>
                <c:pt idx="151">
                  <c:v>44520</c:v>
                </c:pt>
                <c:pt idx="152">
                  <c:v>44521</c:v>
                </c:pt>
                <c:pt idx="153">
                  <c:v>44522</c:v>
                </c:pt>
                <c:pt idx="154">
                  <c:v>44523</c:v>
                </c:pt>
                <c:pt idx="155">
                  <c:v>44524</c:v>
                </c:pt>
                <c:pt idx="156">
                  <c:v>44525</c:v>
                </c:pt>
                <c:pt idx="157">
                  <c:v>44526</c:v>
                </c:pt>
                <c:pt idx="158">
                  <c:v>44527</c:v>
                </c:pt>
                <c:pt idx="159">
                  <c:v>44528</c:v>
                </c:pt>
                <c:pt idx="160">
                  <c:v>44529</c:v>
                </c:pt>
                <c:pt idx="161">
                  <c:v>44530</c:v>
                </c:pt>
                <c:pt idx="162">
                  <c:v>44531</c:v>
                </c:pt>
                <c:pt idx="163">
                  <c:v>44532</c:v>
                </c:pt>
                <c:pt idx="164">
                  <c:v>44533</c:v>
                </c:pt>
                <c:pt idx="165">
                  <c:v>44534</c:v>
                </c:pt>
                <c:pt idx="166">
                  <c:v>44535</c:v>
                </c:pt>
                <c:pt idx="167">
                  <c:v>44536</c:v>
                </c:pt>
                <c:pt idx="168">
                  <c:v>44537</c:v>
                </c:pt>
                <c:pt idx="169">
                  <c:v>44538</c:v>
                </c:pt>
                <c:pt idx="170">
                  <c:v>44539</c:v>
                </c:pt>
                <c:pt idx="171">
                  <c:v>44540</c:v>
                </c:pt>
                <c:pt idx="172">
                  <c:v>44541</c:v>
                </c:pt>
                <c:pt idx="173">
                  <c:v>44542</c:v>
                </c:pt>
                <c:pt idx="174">
                  <c:v>44543</c:v>
                </c:pt>
                <c:pt idx="175">
                  <c:v>44544</c:v>
                </c:pt>
                <c:pt idx="176">
                  <c:v>44545</c:v>
                </c:pt>
                <c:pt idx="177">
                  <c:v>44546</c:v>
                </c:pt>
                <c:pt idx="178">
                  <c:v>44547</c:v>
                </c:pt>
                <c:pt idx="179">
                  <c:v>44548</c:v>
                </c:pt>
                <c:pt idx="180">
                  <c:v>44549</c:v>
                </c:pt>
                <c:pt idx="181">
                  <c:v>44550</c:v>
                </c:pt>
                <c:pt idx="182">
                  <c:v>44551</c:v>
                </c:pt>
                <c:pt idx="183">
                  <c:v>44552</c:v>
                </c:pt>
                <c:pt idx="184">
                  <c:v>44553</c:v>
                </c:pt>
                <c:pt idx="185">
                  <c:v>44554</c:v>
                </c:pt>
                <c:pt idx="186">
                  <c:v>44555</c:v>
                </c:pt>
                <c:pt idx="187">
                  <c:v>44556</c:v>
                </c:pt>
                <c:pt idx="188">
                  <c:v>44557</c:v>
                </c:pt>
                <c:pt idx="189">
                  <c:v>44558</c:v>
                </c:pt>
                <c:pt idx="190">
                  <c:v>44559</c:v>
                </c:pt>
                <c:pt idx="191">
                  <c:v>44560</c:v>
                </c:pt>
                <c:pt idx="192">
                  <c:v>44561</c:v>
                </c:pt>
                <c:pt idx="193">
                  <c:v>44562</c:v>
                </c:pt>
                <c:pt idx="194">
                  <c:v>44563</c:v>
                </c:pt>
                <c:pt idx="195">
                  <c:v>44564</c:v>
                </c:pt>
                <c:pt idx="196">
                  <c:v>44565</c:v>
                </c:pt>
                <c:pt idx="197">
                  <c:v>44566</c:v>
                </c:pt>
                <c:pt idx="198">
                  <c:v>44567</c:v>
                </c:pt>
                <c:pt idx="199">
                  <c:v>44568</c:v>
                </c:pt>
              </c:numCache>
            </c:numRef>
          </c:cat>
          <c:val>
            <c:numRef>
              <c:f>Sheet1!$B$135:$B$334</c:f>
              <c:numCache>
                <c:formatCode>General</c:formatCode>
                <c:ptCount val="200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4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4</c:v>
                </c:pt>
                <c:pt idx="18">
                  <c:v>7</c:v>
                </c:pt>
                <c:pt idx="19">
                  <c:v>1</c:v>
                </c:pt>
                <c:pt idx="20">
                  <c:v>7</c:v>
                </c:pt>
                <c:pt idx="21">
                  <c:v>4</c:v>
                </c:pt>
                <c:pt idx="22">
                  <c:v>7</c:v>
                </c:pt>
                <c:pt idx="23">
                  <c:v>5</c:v>
                </c:pt>
                <c:pt idx="24">
                  <c:v>8</c:v>
                </c:pt>
                <c:pt idx="25">
                  <c:v>3</c:v>
                </c:pt>
                <c:pt idx="26">
                  <c:v>4</c:v>
                </c:pt>
                <c:pt idx="27">
                  <c:v>11</c:v>
                </c:pt>
                <c:pt idx="28">
                  <c:v>8</c:v>
                </c:pt>
                <c:pt idx="29">
                  <c:v>7</c:v>
                </c:pt>
                <c:pt idx="30">
                  <c:v>7</c:v>
                </c:pt>
                <c:pt idx="31">
                  <c:v>6</c:v>
                </c:pt>
                <c:pt idx="32">
                  <c:v>1</c:v>
                </c:pt>
                <c:pt idx="33">
                  <c:v>4</c:v>
                </c:pt>
                <c:pt idx="34">
                  <c:v>9</c:v>
                </c:pt>
                <c:pt idx="35">
                  <c:v>5</c:v>
                </c:pt>
                <c:pt idx="36">
                  <c:v>2</c:v>
                </c:pt>
                <c:pt idx="37">
                  <c:v>8</c:v>
                </c:pt>
                <c:pt idx="38">
                  <c:v>4</c:v>
                </c:pt>
                <c:pt idx="39">
                  <c:v>2</c:v>
                </c:pt>
                <c:pt idx="40">
                  <c:v>1</c:v>
                </c:pt>
                <c:pt idx="41">
                  <c:v>2</c:v>
                </c:pt>
                <c:pt idx="42">
                  <c:v>6</c:v>
                </c:pt>
                <c:pt idx="43">
                  <c:v>11</c:v>
                </c:pt>
                <c:pt idx="44">
                  <c:v>3</c:v>
                </c:pt>
                <c:pt idx="45">
                  <c:v>6</c:v>
                </c:pt>
                <c:pt idx="46">
                  <c:v>1</c:v>
                </c:pt>
                <c:pt idx="47">
                  <c:v>3</c:v>
                </c:pt>
                <c:pt idx="48">
                  <c:v>12</c:v>
                </c:pt>
                <c:pt idx="49">
                  <c:v>3</c:v>
                </c:pt>
                <c:pt idx="50">
                  <c:v>7</c:v>
                </c:pt>
                <c:pt idx="51">
                  <c:v>4</c:v>
                </c:pt>
                <c:pt idx="52">
                  <c:v>10</c:v>
                </c:pt>
                <c:pt idx="53">
                  <c:v>5</c:v>
                </c:pt>
                <c:pt idx="54">
                  <c:v>2</c:v>
                </c:pt>
                <c:pt idx="55">
                  <c:v>7</c:v>
                </c:pt>
                <c:pt idx="56">
                  <c:v>4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3</c:v>
                </c:pt>
                <c:pt idx="62">
                  <c:v>8</c:v>
                </c:pt>
                <c:pt idx="63">
                  <c:v>5</c:v>
                </c:pt>
                <c:pt idx="64">
                  <c:v>6</c:v>
                </c:pt>
                <c:pt idx="65">
                  <c:v>5</c:v>
                </c:pt>
                <c:pt idx="66">
                  <c:v>4</c:v>
                </c:pt>
                <c:pt idx="67">
                  <c:v>3</c:v>
                </c:pt>
                <c:pt idx="68">
                  <c:v>2</c:v>
                </c:pt>
                <c:pt idx="69">
                  <c:v>1</c:v>
                </c:pt>
                <c:pt idx="70">
                  <c:v>7</c:v>
                </c:pt>
                <c:pt idx="71">
                  <c:v>7</c:v>
                </c:pt>
                <c:pt idx="72">
                  <c:v>12</c:v>
                </c:pt>
                <c:pt idx="73">
                  <c:v>13</c:v>
                </c:pt>
                <c:pt idx="74">
                  <c:v>9</c:v>
                </c:pt>
                <c:pt idx="75">
                  <c:v>3</c:v>
                </c:pt>
                <c:pt idx="76">
                  <c:v>7</c:v>
                </c:pt>
                <c:pt idx="77">
                  <c:v>12</c:v>
                </c:pt>
                <c:pt idx="78">
                  <c:v>2</c:v>
                </c:pt>
                <c:pt idx="79">
                  <c:v>7</c:v>
                </c:pt>
                <c:pt idx="80">
                  <c:v>5</c:v>
                </c:pt>
                <c:pt idx="81">
                  <c:v>4</c:v>
                </c:pt>
                <c:pt idx="82">
                  <c:v>5</c:v>
                </c:pt>
                <c:pt idx="83">
                  <c:v>9</c:v>
                </c:pt>
                <c:pt idx="84">
                  <c:v>10</c:v>
                </c:pt>
                <c:pt idx="85">
                  <c:v>8</c:v>
                </c:pt>
                <c:pt idx="86">
                  <c:v>16</c:v>
                </c:pt>
                <c:pt idx="87">
                  <c:v>12</c:v>
                </c:pt>
                <c:pt idx="88">
                  <c:v>5</c:v>
                </c:pt>
                <c:pt idx="89">
                  <c:v>9</c:v>
                </c:pt>
                <c:pt idx="90">
                  <c:v>18</c:v>
                </c:pt>
                <c:pt idx="91">
                  <c:v>19</c:v>
                </c:pt>
                <c:pt idx="92">
                  <c:v>17</c:v>
                </c:pt>
                <c:pt idx="93">
                  <c:v>14</c:v>
                </c:pt>
                <c:pt idx="94">
                  <c:v>15</c:v>
                </c:pt>
                <c:pt idx="95">
                  <c:v>10</c:v>
                </c:pt>
                <c:pt idx="96">
                  <c:v>10</c:v>
                </c:pt>
                <c:pt idx="97">
                  <c:v>18</c:v>
                </c:pt>
                <c:pt idx="98">
                  <c:v>19</c:v>
                </c:pt>
                <c:pt idx="99">
                  <c:v>24</c:v>
                </c:pt>
                <c:pt idx="100">
                  <c:v>37</c:v>
                </c:pt>
                <c:pt idx="101">
                  <c:v>21</c:v>
                </c:pt>
                <c:pt idx="102">
                  <c:v>14</c:v>
                </c:pt>
                <c:pt idx="103">
                  <c:v>16</c:v>
                </c:pt>
                <c:pt idx="104">
                  <c:v>20</c:v>
                </c:pt>
                <c:pt idx="105">
                  <c:v>28</c:v>
                </c:pt>
                <c:pt idx="106">
                  <c:v>27</c:v>
                </c:pt>
                <c:pt idx="107">
                  <c:v>30</c:v>
                </c:pt>
                <c:pt idx="108">
                  <c:v>25</c:v>
                </c:pt>
                <c:pt idx="109">
                  <c:v>14</c:v>
                </c:pt>
                <c:pt idx="110">
                  <c:v>10</c:v>
                </c:pt>
                <c:pt idx="111">
                  <c:v>40</c:v>
                </c:pt>
                <c:pt idx="112">
                  <c:v>60</c:v>
                </c:pt>
                <c:pt idx="113">
                  <c:v>47</c:v>
                </c:pt>
                <c:pt idx="114">
                  <c:v>47</c:v>
                </c:pt>
                <c:pt idx="115">
                  <c:v>37</c:v>
                </c:pt>
                <c:pt idx="116">
                  <c:v>24</c:v>
                </c:pt>
                <c:pt idx="117">
                  <c:v>31</c:v>
                </c:pt>
                <c:pt idx="118">
                  <c:v>91</c:v>
                </c:pt>
                <c:pt idx="119">
                  <c:v>101</c:v>
                </c:pt>
                <c:pt idx="120">
                  <c:v>89</c:v>
                </c:pt>
                <c:pt idx="121">
                  <c:v>120</c:v>
                </c:pt>
                <c:pt idx="122">
                  <c:v>106</c:v>
                </c:pt>
                <c:pt idx="123">
                  <c:v>77</c:v>
                </c:pt>
                <c:pt idx="124">
                  <c:v>45</c:v>
                </c:pt>
                <c:pt idx="125">
                  <c:v>174</c:v>
                </c:pt>
                <c:pt idx="126">
                  <c:v>175</c:v>
                </c:pt>
                <c:pt idx="127">
                  <c:v>165</c:v>
                </c:pt>
                <c:pt idx="128">
                  <c:v>98</c:v>
                </c:pt>
                <c:pt idx="129">
                  <c:v>203</c:v>
                </c:pt>
                <c:pt idx="130">
                  <c:v>140</c:v>
                </c:pt>
                <c:pt idx="131">
                  <c:v>97</c:v>
                </c:pt>
                <c:pt idx="132">
                  <c:v>304</c:v>
                </c:pt>
                <c:pt idx="133">
                  <c:v>271</c:v>
                </c:pt>
                <c:pt idx="134">
                  <c:v>263</c:v>
                </c:pt>
                <c:pt idx="135">
                  <c:v>245</c:v>
                </c:pt>
                <c:pt idx="136">
                  <c:v>286</c:v>
                </c:pt>
                <c:pt idx="137">
                  <c:v>159</c:v>
                </c:pt>
                <c:pt idx="138">
                  <c:v>86</c:v>
                </c:pt>
                <c:pt idx="139">
                  <c:v>316</c:v>
                </c:pt>
                <c:pt idx="140">
                  <c:v>343</c:v>
                </c:pt>
                <c:pt idx="141">
                  <c:v>359</c:v>
                </c:pt>
                <c:pt idx="142">
                  <c:v>267</c:v>
                </c:pt>
                <c:pt idx="143">
                  <c:v>376</c:v>
                </c:pt>
                <c:pt idx="144">
                  <c:v>244</c:v>
                </c:pt>
                <c:pt idx="145">
                  <c:v>130</c:v>
                </c:pt>
                <c:pt idx="146">
                  <c:v>391</c:v>
                </c:pt>
                <c:pt idx="147">
                  <c:v>492</c:v>
                </c:pt>
                <c:pt idx="148">
                  <c:v>309</c:v>
                </c:pt>
                <c:pt idx="149">
                  <c:v>391</c:v>
                </c:pt>
                <c:pt idx="150">
                  <c:v>577</c:v>
                </c:pt>
                <c:pt idx="151">
                  <c:v>329</c:v>
                </c:pt>
                <c:pt idx="152">
                  <c:v>206</c:v>
                </c:pt>
                <c:pt idx="153">
                  <c:v>460</c:v>
                </c:pt>
                <c:pt idx="154">
                  <c:v>548</c:v>
                </c:pt>
                <c:pt idx="155">
                  <c:v>369</c:v>
                </c:pt>
                <c:pt idx="156">
                  <c:v>547</c:v>
                </c:pt>
                <c:pt idx="157">
                  <c:v>403</c:v>
                </c:pt>
                <c:pt idx="158">
                  <c:v>259</c:v>
                </c:pt>
                <c:pt idx="159">
                  <c:v>203</c:v>
                </c:pt>
                <c:pt idx="160">
                  <c:v>474</c:v>
                </c:pt>
                <c:pt idx="161">
                  <c:v>406</c:v>
                </c:pt>
                <c:pt idx="162">
                  <c:v>403</c:v>
                </c:pt>
                <c:pt idx="163">
                  <c:v>320</c:v>
                </c:pt>
                <c:pt idx="164">
                  <c:v>359</c:v>
                </c:pt>
                <c:pt idx="165">
                  <c:v>213</c:v>
                </c:pt>
                <c:pt idx="166">
                  <c:v>148</c:v>
                </c:pt>
                <c:pt idx="167">
                  <c:v>413</c:v>
                </c:pt>
                <c:pt idx="168">
                  <c:v>366</c:v>
                </c:pt>
                <c:pt idx="169">
                  <c:v>293</c:v>
                </c:pt>
                <c:pt idx="170">
                  <c:v>276</c:v>
                </c:pt>
                <c:pt idx="171">
                  <c:v>245</c:v>
                </c:pt>
                <c:pt idx="172">
                  <c:v>173</c:v>
                </c:pt>
                <c:pt idx="173">
                  <c:v>133</c:v>
                </c:pt>
                <c:pt idx="174">
                  <c:v>255</c:v>
                </c:pt>
                <c:pt idx="175">
                  <c:v>322</c:v>
                </c:pt>
                <c:pt idx="176">
                  <c:v>208</c:v>
                </c:pt>
                <c:pt idx="177">
                  <c:v>171</c:v>
                </c:pt>
                <c:pt idx="178">
                  <c:v>203</c:v>
                </c:pt>
                <c:pt idx="179">
                  <c:v>133</c:v>
                </c:pt>
                <c:pt idx="180">
                  <c:v>90</c:v>
                </c:pt>
                <c:pt idx="181">
                  <c:v>223</c:v>
                </c:pt>
                <c:pt idx="182">
                  <c:v>211</c:v>
                </c:pt>
                <c:pt idx="183">
                  <c:v>117</c:v>
                </c:pt>
                <c:pt idx="184">
                  <c:v>159</c:v>
                </c:pt>
                <c:pt idx="185">
                  <c:v>48</c:v>
                </c:pt>
                <c:pt idx="186">
                  <c:v>44</c:v>
                </c:pt>
                <c:pt idx="187">
                  <c:v>48</c:v>
                </c:pt>
                <c:pt idx="188">
                  <c:v>171</c:v>
                </c:pt>
                <c:pt idx="189">
                  <c:v>220</c:v>
                </c:pt>
                <c:pt idx="190">
                  <c:v>150</c:v>
                </c:pt>
                <c:pt idx="191">
                  <c:v>141</c:v>
                </c:pt>
                <c:pt idx="192">
                  <c:v>148</c:v>
                </c:pt>
                <c:pt idx="193">
                  <c:v>34</c:v>
                </c:pt>
                <c:pt idx="194">
                  <c:v>90</c:v>
                </c:pt>
                <c:pt idx="195">
                  <c:v>239</c:v>
                </c:pt>
                <c:pt idx="196">
                  <c:v>207</c:v>
                </c:pt>
                <c:pt idx="197">
                  <c:v>161</c:v>
                </c:pt>
                <c:pt idx="198">
                  <c:v>159</c:v>
                </c:pt>
                <c:pt idx="199">
                  <c:v>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148662719487748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B$2:$B$342</c:f>
              <c:numCache>
                <c:formatCode>General</c:formatCode>
                <c:ptCount val="341"/>
                <c:pt idx="0">
                  <c:v>81.159190783482998</c:v>
                </c:pt>
                <c:pt idx="1">
                  <c:v>64.303512579374001</c:v>
                </c:pt>
                <c:pt idx="2">
                  <c:v>55.003259452411001</c:v>
                </c:pt>
                <c:pt idx="3">
                  <c:v>78.186082877247003</c:v>
                </c:pt>
                <c:pt idx="4">
                  <c:v>53.769000103400998</c:v>
                </c:pt>
                <c:pt idx="5">
                  <c:v>35.35626637827</c:v>
                </c:pt>
                <c:pt idx="6">
                  <c:v>33.474904282695</c:v>
                </c:pt>
                <c:pt idx="7">
                  <c:v>42.700371493231003</c:v>
                </c:pt>
                <c:pt idx="8">
                  <c:v>50.384455300225</c:v>
                </c:pt>
                <c:pt idx="9">
                  <c:v>69.659790571209996</c:v>
                </c:pt>
                <c:pt idx="10">
                  <c:v>62.518813531848998</c:v>
                </c:pt>
                <c:pt idx="11">
                  <c:v>64.782379192858997</c:v>
                </c:pt>
                <c:pt idx="12">
                  <c:v>28.943560057887002</c:v>
                </c:pt>
                <c:pt idx="13">
                  <c:v>19.386889615897001</c:v>
                </c:pt>
                <c:pt idx="14">
                  <c:v>60.206206256427997</c:v>
                </c:pt>
                <c:pt idx="15">
                  <c:v>89.016887027096999</c:v>
                </c:pt>
                <c:pt idx="16">
                  <c:v>35.404978484666003</c:v>
                </c:pt>
                <c:pt idx="17">
                  <c:v>79.892715496332997</c:v>
                </c:pt>
                <c:pt idx="18">
                  <c:v>68.389283696589004</c:v>
                </c:pt>
                <c:pt idx="19">
                  <c:v>39.006240998559001</c:v>
                </c:pt>
                <c:pt idx="20">
                  <c:v>24.156048070535</c:v>
                </c:pt>
                <c:pt idx="21">
                  <c:v>104.117368670137</c:v>
                </c:pt>
                <c:pt idx="22">
                  <c:v>98.109752109358993</c:v>
                </c:pt>
                <c:pt idx="23">
                  <c:v>77.805216332328996</c:v>
                </c:pt>
                <c:pt idx="24">
                  <c:v>115.396719935657</c:v>
                </c:pt>
                <c:pt idx="25">
                  <c:v>136.90240299744201</c:v>
                </c:pt>
                <c:pt idx="26">
                  <c:v>76.042873696407</c:v>
                </c:pt>
                <c:pt idx="27">
                  <c:v>58.019363962721997</c:v>
                </c:pt>
                <c:pt idx="28">
                  <c:v>103.950103950103</c:v>
                </c:pt>
                <c:pt idx="29">
                  <c:v>155.073943795151</c:v>
                </c:pt>
                <c:pt idx="30">
                  <c:v>122.62885610270099</c:v>
                </c:pt>
                <c:pt idx="31">
                  <c:v>69.959967352014999</c:v>
                </c:pt>
                <c:pt idx="32">
                  <c:v>90.611826813221001</c:v>
                </c:pt>
                <c:pt idx="33">
                  <c:v>31.564411126454001</c:v>
                </c:pt>
                <c:pt idx="34">
                  <c:v>31.616804331501999</c:v>
                </c:pt>
                <c:pt idx="35">
                  <c:v>79.798906754976997</c:v>
                </c:pt>
                <c:pt idx="36">
                  <c:v>68.703524086646993</c:v>
                </c:pt>
                <c:pt idx="37">
                  <c:v>77.522542739401004</c:v>
                </c:pt>
                <c:pt idx="38">
                  <c:v>24.697456162015001</c:v>
                </c:pt>
                <c:pt idx="39">
                  <c:v>70.771408351025997</c:v>
                </c:pt>
                <c:pt idx="40">
                  <c:v>37.490627343164</c:v>
                </c:pt>
                <c:pt idx="41">
                  <c:v>16.672919011295001</c:v>
                </c:pt>
                <c:pt idx="42">
                  <c:v>88.094638811980005</c:v>
                </c:pt>
                <c:pt idx="43">
                  <c:v>109.783388928767</c:v>
                </c:pt>
                <c:pt idx="44">
                  <c:v>29.742936052687</c:v>
                </c:pt>
                <c:pt idx="45">
                  <c:v>42.747830547599001</c:v>
                </c:pt>
                <c:pt idx="46">
                  <c:v>38.890329271454</c:v>
                </c:pt>
                <c:pt idx="47">
                  <c:v>21.614144296027</c:v>
                </c:pt>
                <c:pt idx="48">
                  <c:v>21.620686673007999</c:v>
                </c:pt>
                <c:pt idx="49">
                  <c:v>30.518376422374001</c:v>
                </c:pt>
                <c:pt idx="50">
                  <c:v>65.841453779299002</c:v>
                </c:pt>
                <c:pt idx="51">
                  <c:v>26.540452072366001</c:v>
                </c:pt>
                <c:pt idx="52">
                  <c:v>35.760582897501003</c:v>
                </c:pt>
                <c:pt idx="53">
                  <c:v>36.220401140942002</c:v>
                </c:pt>
                <c:pt idx="54">
                  <c:v>40.832993058390997</c:v>
                </c:pt>
                <c:pt idx="55">
                  <c:v>4.5526974732519996</c:v>
                </c:pt>
                <c:pt idx="56">
                  <c:v>59.999076937277003</c:v>
                </c:pt>
                <c:pt idx="57">
                  <c:v>51.519835136527</c:v>
                </c:pt>
                <c:pt idx="58">
                  <c:v>23.775558725629999</c:v>
                </c:pt>
                <c:pt idx="59">
                  <c:v>28.979907264295999</c:v>
                </c:pt>
                <c:pt idx="60">
                  <c:v>19.759917008348001</c:v>
                </c:pt>
                <c:pt idx="61">
                  <c:v>14.851485148514</c:v>
                </c:pt>
                <c:pt idx="62">
                  <c:v>19.834382902761</c:v>
                </c:pt>
                <c:pt idx="63">
                  <c:v>25.159764504603999</c:v>
                </c:pt>
                <c:pt idx="64">
                  <c:v>46.016975150832998</c:v>
                </c:pt>
                <c:pt idx="65">
                  <c:v>10.434056761268</c:v>
                </c:pt>
                <c:pt idx="66">
                  <c:v>5.3233963268559998</c:v>
                </c:pt>
                <c:pt idx="67">
                  <c:v>10.918222513373999</c:v>
                </c:pt>
                <c:pt idx="68">
                  <c:v>10.963710119504</c:v>
                </c:pt>
                <c:pt idx="69">
                  <c:v>5.4972239019289999</c:v>
                </c:pt>
                <c:pt idx="70">
                  <c:v>16.763522574877001</c:v>
                </c:pt>
                <c:pt idx="71">
                  <c:v>11.389521640091001</c:v>
                </c:pt>
                <c:pt idx="72">
                  <c:v>52.167864595409</c:v>
                </c:pt>
                <c:pt idx="73">
                  <c:v>17.764092846991002</c:v>
                </c:pt>
                <c:pt idx="74">
                  <c:v>17.865650309671</c:v>
                </c:pt>
                <c:pt idx="75">
                  <c:v>5.9912527709540004</c:v>
                </c:pt>
                <c:pt idx="76">
                  <c:v>12.019230769229999</c:v>
                </c:pt>
                <c:pt idx="77">
                  <c:v>36.127167630057002</c:v>
                </c:pt>
                <c:pt idx="78">
                  <c:v>24.539877300613</c:v>
                </c:pt>
                <c:pt idx="79">
                  <c:v>31.115813056195002</c:v>
                </c:pt>
                <c:pt idx="80">
                  <c:v>6.3311174422279999</c:v>
                </c:pt>
                <c:pt idx="81">
                  <c:v>19.313719178523002</c:v>
                </c:pt>
                <c:pt idx="82">
                  <c:v>6.4783622700179997</c:v>
                </c:pt>
                <c:pt idx="83">
                  <c:v>6.4998375040619996</c:v>
                </c:pt>
                <c:pt idx="84">
                  <c:v>13.141467901964001</c:v>
                </c:pt>
                <c:pt idx="85">
                  <c:v>6.6409881790409999</c:v>
                </c:pt>
                <c:pt idx="86">
                  <c:v>40.338846308995002</c:v>
                </c:pt>
                <c:pt idx="87">
                  <c:v>13.60544217687</c:v>
                </c:pt>
                <c:pt idx="88">
                  <c:v>20.681097476906</c:v>
                </c:pt>
                <c:pt idx="89">
                  <c:v>6.9079856313889998</c:v>
                </c:pt>
                <c:pt idx="90">
                  <c:v>0</c:v>
                </c:pt>
                <c:pt idx="91">
                  <c:v>6.9662138627649997</c:v>
                </c:pt>
                <c:pt idx="92">
                  <c:v>7.0209927683769999</c:v>
                </c:pt>
                <c:pt idx="93">
                  <c:v>7.0606509920210003</c:v>
                </c:pt>
                <c:pt idx="94">
                  <c:v>0</c:v>
                </c:pt>
                <c:pt idx="95">
                  <c:v>0</c:v>
                </c:pt>
                <c:pt idx="96">
                  <c:v>7.1746305065279996</c:v>
                </c:pt>
                <c:pt idx="97">
                  <c:v>7.1833919977010003</c:v>
                </c:pt>
                <c:pt idx="98">
                  <c:v>0</c:v>
                </c:pt>
                <c:pt idx="99">
                  <c:v>14.444604940054001</c:v>
                </c:pt>
                <c:pt idx="100">
                  <c:v>0</c:v>
                </c:pt>
                <c:pt idx="101">
                  <c:v>14.584700649019</c:v>
                </c:pt>
                <c:pt idx="102">
                  <c:v>14.665982254160999</c:v>
                </c:pt>
                <c:pt idx="103">
                  <c:v>7.339449541284</c:v>
                </c:pt>
                <c:pt idx="104">
                  <c:v>0</c:v>
                </c:pt>
                <c:pt idx="105">
                  <c:v>14.741652539248999</c:v>
                </c:pt>
                <c:pt idx="106">
                  <c:v>14.784151389710001</c:v>
                </c:pt>
                <c:pt idx="107">
                  <c:v>22.232103156958001</c:v>
                </c:pt>
                <c:pt idx="108">
                  <c:v>7.4299725091009998</c:v>
                </c:pt>
                <c:pt idx="109">
                  <c:v>7.472166180975</c:v>
                </c:pt>
                <c:pt idx="110">
                  <c:v>0</c:v>
                </c:pt>
                <c:pt idx="111">
                  <c:v>7.4973759184280002</c:v>
                </c:pt>
                <c:pt idx="112">
                  <c:v>0</c:v>
                </c:pt>
                <c:pt idx="113">
                  <c:v>7.546600256584</c:v>
                </c:pt>
                <c:pt idx="114">
                  <c:v>15.142337976983001</c:v>
                </c:pt>
                <c:pt idx="115">
                  <c:v>0</c:v>
                </c:pt>
                <c:pt idx="116">
                  <c:v>15.264845061821999</c:v>
                </c:pt>
                <c:pt idx="117">
                  <c:v>0</c:v>
                </c:pt>
                <c:pt idx="118">
                  <c:v>7.6964519356569996</c:v>
                </c:pt>
                <c:pt idx="119">
                  <c:v>0</c:v>
                </c:pt>
                <c:pt idx="120">
                  <c:v>15.639662183296</c:v>
                </c:pt>
                <c:pt idx="121">
                  <c:v>0</c:v>
                </c:pt>
                <c:pt idx="122">
                  <c:v>7.9770261646450003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16.723806338321999</c:v>
                </c:pt>
                <c:pt idx="131">
                  <c:v>0</c:v>
                </c:pt>
                <c:pt idx="132">
                  <c:v>0</c:v>
                </c:pt>
                <c:pt idx="133">
                  <c:v>8.5492006497389994</c:v>
                </c:pt>
                <c:pt idx="135">
                  <c:v>0</c:v>
                </c:pt>
                <c:pt idx="136">
                  <c:v>0</c:v>
                </c:pt>
                <c:pt idx="137">
                  <c:v>8.8144557073600005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0</c:v>
                </c:pt>
                <c:pt idx="162">
                  <c:v>10.037137408411001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20.525451559934002</c:v>
                </c:pt>
                <c:pt idx="167">
                  <c:v>0</c:v>
                </c:pt>
                <c:pt idx="168">
                  <c:v>20.535989321285001</c:v>
                </c:pt>
                <c:pt idx="169">
                  <c:v>0</c:v>
                </c:pt>
                <c:pt idx="170">
                  <c:v>10.331645831179999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10.478885046631</c:v>
                </c:pt>
                <c:pt idx="175">
                  <c:v>10.531858873091</c:v>
                </c:pt>
                <c:pt idx="176">
                  <c:v>10.585371017253999</c:v>
                </c:pt>
                <c:pt idx="177">
                  <c:v>0</c:v>
                </c:pt>
                <c:pt idx="178">
                  <c:v>21.394950791612999</c:v>
                </c:pt>
                <c:pt idx="179">
                  <c:v>21.523891519586002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43.922257604039999</c:v>
                </c:pt>
                <c:pt idx="185">
                  <c:v>0</c:v>
                </c:pt>
                <c:pt idx="186">
                  <c:v>22.150847269907999</c:v>
                </c:pt>
                <c:pt idx="187">
                  <c:v>0</c:v>
                </c:pt>
                <c:pt idx="188">
                  <c:v>11.098779134295</c:v>
                </c:pt>
                <c:pt idx="189">
                  <c:v>11.142061281337</c:v>
                </c:pt>
                <c:pt idx="190">
                  <c:v>0</c:v>
                </c:pt>
                <c:pt idx="191">
                  <c:v>22.459292532285001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22.76867030965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1.571395510298</c:v>
                </c:pt>
                <c:pt idx="201">
                  <c:v>0</c:v>
                </c:pt>
                <c:pt idx="202">
                  <c:v>0</c:v>
                </c:pt>
                <c:pt idx="203">
                  <c:v>11.626555051738</c:v>
                </c:pt>
                <c:pt idx="204">
                  <c:v>0</c:v>
                </c:pt>
                <c:pt idx="205">
                  <c:v>0</c:v>
                </c:pt>
                <c:pt idx="206">
                  <c:v>11.763321962121999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11.947431302269999</c:v>
                </c:pt>
                <c:pt idx="213">
                  <c:v>11.986096128490001</c:v>
                </c:pt>
                <c:pt idx="214">
                  <c:v>0</c:v>
                </c:pt>
                <c:pt idx="215">
                  <c:v>12.030798845043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2.121212121212</c:v>
                </c:pt>
                <c:pt idx="223">
                  <c:v>0</c:v>
                </c:pt>
                <c:pt idx="224">
                  <c:v>0</c:v>
                </c:pt>
                <c:pt idx="225">
                  <c:v>12.121212121212</c:v>
                </c:pt>
                <c:pt idx="226">
                  <c:v>0</c:v>
                </c:pt>
                <c:pt idx="227">
                  <c:v>0</c:v>
                </c:pt>
                <c:pt idx="228">
                  <c:v>12.118274357731</c:v>
                </c:pt>
                <c:pt idx="229">
                  <c:v>12.100677637946999</c:v>
                </c:pt>
                <c:pt idx="230">
                  <c:v>0</c:v>
                </c:pt>
                <c:pt idx="231">
                  <c:v>0</c:v>
                </c:pt>
                <c:pt idx="232">
                  <c:v>12.070006035003001</c:v>
                </c:pt>
                <c:pt idx="233">
                  <c:v>24.145840878908</c:v>
                </c:pt>
                <c:pt idx="234">
                  <c:v>0</c:v>
                </c:pt>
                <c:pt idx="235">
                  <c:v>12.090436464755999</c:v>
                </c:pt>
                <c:pt idx="236">
                  <c:v>0</c:v>
                </c:pt>
                <c:pt idx="237">
                  <c:v>12.049644535485999</c:v>
                </c:pt>
                <c:pt idx="238">
                  <c:v>24.067388688327</c:v>
                </c:pt>
                <c:pt idx="239">
                  <c:v>12.027904738994</c:v>
                </c:pt>
                <c:pt idx="240">
                  <c:v>12.019230769229999</c:v>
                </c:pt>
                <c:pt idx="241">
                  <c:v>12.029351617947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2.074378169524</c:v>
                </c:pt>
                <c:pt idx="248">
                  <c:v>12.109469605231</c:v>
                </c:pt>
                <c:pt idx="249">
                  <c:v>12.144765606023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24.322023592362001</c:v>
                </c:pt>
                <c:pt idx="254">
                  <c:v>12.198097096852001</c:v>
                </c:pt>
                <c:pt idx="255">
                  <c:v>36.643459142543001</c:v>
                </c:pt>
                <c:pt idx="256">
                  <c:v>12.238404112103</c:v>
                </c:pt>
                <c:pt idx="257">
                  <c:v>0</c:v>
                </c:pt>
                <c:pt idx="258">
                  <c:v>24.467824810374001</c:v>
                </c:pt>
                <c:pt idx="259">
                  <c:v>48.965601664829997</c:v>
                </c:pt>
                <c:pt idx="260">
                  <c:v>61.312078479459998</c:v>
                </c:pt>
                <c:pt idx="261">
                  <c:v>24.554941682012998</c:v>
                </c:pt>
                <c:pt idx="262">
                  <c:v>36.904908352809997</c:v>
                </c:pt>
                <c:pt idx="263">
                  <c:v>73.873430189608001</c:v>
                </c:pt>
                <c:pt idx="264">
                  <c:v>73.873430189608001</c:v>
                </c:pt>
                <c:pt idx="265">
                  <c:v>49.242890557674997</c:v>
                </c:pt>
                <c:pt idx="266">
                  <c:v>86.377097729515995</c:v>
                </c:pt>
                <c:pt idx="267">
                  <c:v>37.046184243021997</c:v>
                </c:pt>
                <c:pt idx="268">
                  <c:v>74.138144075125993</c:v>
                </c:pt>
                <c:pt idx="269">
                  <c:v>86.569379173879994</c:v>
                </c:pt>
                <c:pt idx="270">
                  <c:v>99.132589838908999</c:v>
                </c:pt>
                <c:pt idx="271">
                  <c:v>86.784031738159996</c:v>
                </c:pt>
                <c:pt idx="272">
                  <c:v>24.792363951902001</c:v>
                </c:pt>
                <c:pt idx="273">
                  <c:v>161.430522786539</c:v>
                </c:pt>
                <c:pt idx="274">
                  <c:v>149.10536779323999</c:v>
                </c:pt>
                <c:pt idx="275">
                  <c:v>149.34660858742899</c:v>
                </c:pt>
                <c:pt idx="276">
                  <c:v>87.303566974307003</c:v>
                </c:pt>
                <c:pt idx="277">
                  <c:v>162.662662662662</c:v>
                </c:pt>
                <c:pt idx="278">
                  <c:v>37.579857196542001</c:v>
                </c:pt>
                <c:pt idx="279">
                  <c:v>50.119032702668001</c:v>
                </c:pt>
                <c:pt idx="280">
                  <c:v>175.813135752856</c:v>
                </c:pt>
                <c:pt idx="281">
                  <c:v>75.528700906344</c:v>
                </c:pt>
                <c:pt idx="282">
                  <c:v>151.55342258145899</c:v>
                </c:pt>
                <c:pt idx="283">
                  <c:v>176.90169320192001</c:v>
                </c:pt>
                <c:pt idx="284">
                  <c:v>126.59830358273101</c:v>
                </c:pt>
                <c:pt idx="285">
                  <c:v>164.723770907247</c:v>
                </c:pt>
                <c:pt idx="286">
                  <c:v>50.716368707999997</c:v>
                </c:pt>
                <c:pt idx="287">
                  <c:v>254.388196387687</c:v>
                </c:pt>
                <c:pt idx="288">
                  <c:v>280.46914839367599</c:v>
                </c:pt>
                <c:pt idx="289">
                  <c:v>191.644308164047</c:v>
                </c:pt>
                <c:pt idx="290">
                  <c:v>256.311674996796</c:v>
                </c:pt>
                <c:pt idx="291">
                  <c:v>412.15868109221998</c:v>
                </c:pt>
                <c:pt idx="292">
                  <c:v>232.228099600051</c:v>
                </c:pt>
                <c:pt idx="293">
                  <c:v>155.01873143004701</c:v>
                </c:pt>
                <c:pt idx="294">
                  <c:v>207.20020720020699</c:v>
                </c:pt>
                <c:pt idx="295">
                  <c:v>207.549617330393</c:v>
                </c:pt>
                <c:pt idx="296">
                  <c:v>142.98713115819501</c:v>
                </c:pt>
                <c:pt idx="297">
                  <c:v>326.24298577580498</c:v>
                </c:pt>
                <c:pt idx="298">
                  <c:v>196.43792561550501</c:v>
                </c:pt>
                <c:pt idx="299">
                  <c:v>65.547981122181</c:v>
                </c:pt>
                <c:pt idx="300">
                  <c:v>104.945559491014</c:v>
                </c:pt>
                <c:pt idx="301">
                  <c:v>184.30753027909401</c:v>
                </c:pt>
                <c:pt idx="302">
                  <c:v>158.68817773075901</c:v>
                </c:pt>
                <c:pt idx="303">
                  <c:v>158.898305084745</c:v>
                </c:pt>
                <c:pt idx="304">
                  <c:v>159.447249534945</c:v>
                </c:pt>
                <c:pt idx="305">
                  <c:v>160.32064128256499</c:v>
                </c:pt>
                <c:pt idx="306">
                  <c:v>147.09815458678699</c:v>
                </c:pt>
                <c:pt idx="307">
                  <c:v>26.780931976432001</c:v>
                </c:pt>
                <c:pt idx="308">
                  <c:v>134.517083669626</c:v>
                </c:pt>
                <c:pt idx="309">
                  <c:v>121.523089386983</c:v>
                </c:pt>
                <c:pt idx="310">
                  <c:v>67.897881586094002</c:v>
                </c:pt>
                <c:pt idx="311">
                  <c:v>122.934025406365</c:v>
                </c:pt>
                <c:pt idx="312">
                  <c:v>151.20274914089299</c:v>
                </c:pt>
                <c:pt idx="313">
                  <c:v>68.823124569854997</c:v>
                </c:pt>
                <c:pt idx="314">
                  <c:v>55.104008816640999</c:v>
                </c:pt>
                <c:pt idx="315">
                  <c:v>110.58888581697499</c:v>
                </c:pt>
                <c:pt idx="316">
                  <c:v>55.501595670874998</c:v>
                </c:pt>
                <c:pt idx="317">
                  <c:v>111.436133166179</c:v>
                </c:pt>
                <c:pt idx="318">
                  <c:v>69.851913942441996</c:v>
                </c:pt>
                <c:pt idx="319">
                  <c:v>98.245614035087002</c:v>
                </c:pt>
                <c:pt idx="320">
                  <c:v>112.406913025151</c:v>
                </c:pt>
                <c:pt idx="321">
                  <c:v>42.188159189986997</c:v>
                </c:pt>
                <c:pt idx="322">
                  <c:v>126.88566192020301</c:v>
                </c:pt>
                <c:pt idx="323">
                  <c:v>184.13597733711001</c:v>
                </c:pt>
                <c:pt idx="324">
                  <c:v>99.361249112845002</c:v>
                </c:pt>
                <c:pt idx="325">
                  <c:v>99.644128113879006</c:v>
                </c:pt>
                <c:pt idx="326">
                  <c:v>14.320492624946001</c:v>
                </c:pt>
                <c:pt idx="327">
                  <c:v>71.725720843494003</c:v>
                </c:pt>
                <c:pt idx="328">
                  <c:v>14.35956346927</c:v>
                </c:pt>
                <c:pt idx="329">
                  <c:v>43.233895373972999</c:v>
                </c:pt>
                <c:pt idx="330">
                  <c:v>86.805555555555003</c:v>
                </c:pt>
                <c:pt idx="331">
                  <c:v>116.04293588627699</c:v>
                </c:pt>
                <c:pt idx="332">
                  <c:v>43.712662101120998</c:v>
                </c:pt>
                <c:pt idx="333">
                  <c:v>87.834870443566004</c:v>
                </c:pt>
                <c:pt idx="334">
                  <c:v>29.368575624081998</c:v>
                </c:pt>
                <c:pt idx="335">
                  <c:v>73.561865528908996</c:v>
                </c:pt>
                <c:pt idx="336">
                  <c:v>44.306601683650001</c:v>
                </c:pt>
                <c:pt idx="337">
                  <c:v>74.194984419053</c:v>
                </c:pt>
                <c:pt idx="338">
                  <c:v>29.824038174767999</c:v>
                </c:pt>
                <c:pt idx="339">
                  <c:v>59.817556452818003</c:v>
                </c:pt>
                <c:pt idx="340">
                  <c:v>29.9535719634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6D-4FF1-A45D-1ECFD79ADBF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C$2:$C$342</c:f>
              <c:numCache>
                <c:formatCode>General</c:formatCode>
                <c:ptCount val="3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.9489758132099999</c:v>
                </c:pt>
                <c:pt idx="11">
                  <c:v>1.949089775075</c:v>
                </c:pt>
                <c:pt idx="12">
                  <c:v>0</c:v>
                </c:pt>
                <c:pt idx="13">
                  <c:v>0</c:v>
                </c:pt>
                <c:pt idx="14">
                  <c:v>1.9494317406470001</c:v>
                </c:pt>
                <c:pt idx="15">
                  <c:v>5.8485232478790001</c:v>
                </c:pt>
                <c:pt idx="16">
                  <c:v>1.9496217733750001</c:v>
                </c:pt>
                <c:pt idx="17">
                  <c:v>3.899471621595</c:v>
                </c:pt>
                <c:pt idx="18">
                  <c:v>0</c:v>
                </c:pt>
                <c:pt idx="19">
                  <c:v>3.8999278513340001</c:v>
                </c:pt>
                <c:pt idx="20">
                  <c:v>1.95007800312</c:v>
                </c:pt>
                <c:pt idx="21">
                  <c:v>5.8505762817629998</c:v>
                </c:pt>
                <c:pt idx="22">
                  <c:v>3.9006123961460002</c:v>
                </c:pt>
                <c:pt idx="23">
                  <c:v>5.8512609467340004</c:v>
                </c:pt>
                <c:pt idx="24">
                  <c:v>5.8516033393139999</c:v>
                </c:pt>
                <c:pt idx="25">
                  <c:v>3.9012971813120001</c:v>
                </c:pt>
                <c:pt idx="26">
                  <c:v>3.901525496469</c:v>
                </c:pt>
                <c:pt idx="27">
                  <c:v>5.8526307575249996</c:v>
                </c:pt>
                <c:pt idx="28">
                  <c:v>7.8039644139220004</c:v>
                </c:pt>
                <c:pt idx="29">
                  <c:v>1.951143370014</c:v>
                </c:pt>
                <c:pt idx="30">
                  <c:v>5.8537727565409998</c:v>
                </c:pt>
                <c:pt idx="31">
                  <c:v>3.9025913206360001</c:v>
                </c:pt>
                <c:pt idx="32">
                  <c:v>1.9513337366079999</c:v>
                </c:pt>
                <c:pt idx="33">
                  <c:v>3.9026674732169999</c:v>
                </c:pt>
                <c:pt idx="34">
                  <c:v>0</c:v>
                </c:pt>
                <c:pt idx="35">
                  <c:v>5.8541154431560001</c:v>
                </c:pt>
                <c:pt idx="36">
                  <c:v>7.805639574592</c:v>
                </c:pt>
                <c:pt idx="37">
                  <c:v>3.9028959487939998</c:v>
                </c:pt>
                <c:pt idx="38">
                  <c:v>3.9028959487939998</c:v>
                </c:pt>
                <c:pt idx="39">
                  <c:v>1.951486056632</c:v>
                </c:pt>
                <c:pt idx="40">
                  <c:v>1.951486056632</c:v>
                </c:pt>
                <c:pt idx="41">
                  <c:v>5.8545724210600003</c:v>
                </c:pt>
                <c:pt idx="42">
                  <c:v>3.9031244511229999</c:v>
                </c:pt>
                <c:pt idx="43">
                  <c:v>7.8062489022459998</c:v>
                </c:pt>
                <c:pt idx="44">
                  <c:v>5.8548009367680001</c:v>
                </c:pt>
                <c:pt idx="45">
                  <c:v>5.854915201311</c:v>
                </c:pt>
                <c:pt idx="46">
                  <c:v>5.854915201311</c:v>
                </c:pt>
                <c:pt idx="47">
                  <c:v>1.9516764901050001</c:v>
                </c:pt>
                <c:pt idx="48">
                  <c:v>1.9516764901050001</c:v>
                </c:pt>
                <c:pt idx="49">
                  <c:v>5.8551437437780001</c:v>
                </c:pt>
                <c:pt idx="50">
                  <c:v>3.9035053478020001</c:v>
                </c:pt>
                <c:pt idx="51">
                  <c:v>3.9035053478020001</c:v>
                </c:pt>
                <c:pt idx="52">
                  <c:v>1.9517907680290001</c:v>
                </c:pt>
                <c:pt idx="53">
                  <c:v>5.8553723040890002</c:v>
                </c:pt>
                <c:pt idx="54">
                  <c:v>5.8554865909349996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5.8557151780129999</c:v>
                </c:pt>
                <c:pt idx="59">
                  <c:v>1.9518669607470001</c:v>
                </c:pt>
                <c:pt idx="60">
                  <c:v>0</c:v>
                </c:pt>
                <c:pt idx="61">
                  <c:v>3.9034291625190001</c:v>
                </c:pt>
                <c:pt idx="62">
                  <c:v>0</c:v>
                </c:pt>
                <c:pt idx="63">
                  <c:v>0</c:v>
                </c:pt>
                <c:pt idx="64">
                  <c:v>1.9515241403529999</c:v>
                </c:pt>
                <c:pt idx="65">
                  <c:v>1.9514479743969999</c:v>
                </c:pt>
                <c:pt idx="66">
                  <c:v>9.7568590719269999</c:v>
                </c:pt>
                <c:pt idx="67">
                  <c:v>3.9025913206360001</c:v>
                </c:pt>
                <c:pt idx="68">
                  <c:v>0</c:v>
                </c:pt>
                <c:pt idx="69">
                  <c:v>1.951181440362</c:v>
                </c:pt>
                <c:pt idx="70">
                  <c:v>3.9022106023059999</c:v>
                </c:pt>
                <c:pt idx="71">
                  <c:v>1.9510291678859999</c:v>
                </c:pt>
                <c:pt idx="72">
                  <c:v>0</c:v>
                </c:pt>
                <c:pt idx="73">
                  <c:v>0</c:v>
                </c:pt>
                <c:pt idx="74">
                  <c:v>1.95083886071</c:v>
                </c:pt>
                <c:pt idx="75">
                  <c:v>3.901525496469</c:v>
                </c:pt>
                <c:pt idx="76">
                  <c:v>3.9013732833949999</c:v>
                </c:pt>
                <c:pt idx="77">
                  <c:v>3.901221082198</c:v>
                </c:pt>
                <c:pt idx="78">
                  <c:v>0</c:v>
                </c:pt>
                <c:pt idx="79">
                  <c:v>7.8019856053360002</c:v>
                </c:pt>
                <c:pt idx="80">
                  <c:v>1.950420315578</c:v>
                </c:pt>
                <c:pt idx="81">
                  <c:v>5.8510327072720001</c:v>
                </c:pt>
                <c:pt idx="82">
                  <c:v>0</c:v>
                </c:pt>
                <c:pt idx="83">
                  <c:v>0</c:v>
                </c:pt>
                <c:pt idx="84">
                  <c:v>1.95015406217</c:v>
                </c:pt>
                <c:pt idx="85">
                  <c:v>3.90015600624</c:v>
                </c:pt>
                <c:pt idx="86">
                  <c:v>1.950001950001</c:v>
                </c:pt>
                <c:pt idx="87">
                  <c:v>9.7496295140780003</c:v>
                </c:pt>
                <c:pt idx="88">
                  <c:v>1.94984986156</c:v>
                </c:pt>
                <c:pt idx="89">
                  <c:v>0</c:v>
                </c:pt>
                <c:pt idx="90">
                  <c:v>5.8496636443399996</c:v>
                </c:pt>
                <c:pt idx="91">
                  <c:v>1.9499639256670001</c:v>
                </c:pt>
                <c:pt idx="92">
                  <c:v>3.900003900003</c:v>
                </c:pt>
                <c:pt idx="93">
                  <c:v>7.8003120124800001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3.9006884715150001</c:v>
                </c:pt>
                <c:pt idx="99">
                  <c:v>0</c:v>
                </c:pt>
                <c:pt idx="100">
                  <c:v>0</c:v>
                </c:pt>
                <c:pt idx="101">
                  <c:v>5.8516033393139999</c:v>
                </c:pt>
                <c:pt idx="102">
                  <c:v>0</c:v>
                </c:pt>
                <c:pt idx="103">
                  <c:v>1.950648590656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1.9508769191749999</c:v>
                </c:pt>
                <c:pt idx="108">
                  <c:v>0</c:v>
                </c:pt>
                <c:pt idx="109">
                  <c:v>0</c:v>
                </c:pt>
                <c:pt idx="110">
                  <c:v>1.9510291678859999</c:v>
                </c:pt>
                <c:pt idx="111">
                  <c:v>0</c:v>
                </c:pt>
                <c:pt idx="112">
                  <c:v>1.951143370014</c:v>
                </c:pt>
                <c:pt idx="113">
                  <c:v>0</c:v>
                </c:pt>
                <c:pt idx="114">
                  <c:v>0</c:v>
                </c:pt>
                <c:pt idx="115">
                  <c:v>3.9026674732169999</c:v>
                </c:pt>
                <c:pt idx="116">
                  <c:v>3.9027436287709998</c:v>
                </c:pt>
                <c:pt idx="117">
                  <c:v>0</c:v>
                </c:pt>
                <c:pt idx="118">
                  <c:v>0</c:v>
                </c:pt>
                <c:pt idx="119">
                  <c:v>1.9515241403529999</c:v>
                </c:pt>
                <c:pt idx="120">
                  <c:v>0</c:v>
                </c:pt>
                <c:pt idx="121">
                  <c:v>0</c:v>
                </c:pt>
                <c:pt idx="122">
                  <c:v>1.9517526739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1.95232424201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1.953506544246</c:v>
                </c:pt>
                <c:pt idx="151">
                  <c:v>0</c:v>
                </c:pt>
                <c:pt idx="153">
                  <c:v>1.9531631477169999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9051821767480002</c:v>
                </c:pt>
                <c:pt idx="159">
                  <c:v>0</c:v>
                </c:pt>
                <c:pt idx="161">
                  <c:v>3.904572254109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5.8554865909349996</c:v>
                </c:pt>
                <c:pt idx="166">
                  <c:v>0</c:v>
                </c:pt>
                <c:pt idx="167">
                  <c:v>1.9516003122559999</c:v>
                </c:pt>
                <c:pt idx="168">
                  <c:v>0</c:v>
                </c:pt>
                <c:pt idx="169">
                  <c:v>3.9027436287709998</c:v>
                </c:pt>
                <c:pt idx="170">
                  <c:v>1.9512956603180001</c:v>
                </c:pt>
                <c:pt idx="171">
                  <c:v>7.8047257614480001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3.9014493884469998</c:v>
                </c:pt>
                <c:pt idx="176">
                  <c:v>0</c:v>
                </c:pt>
                <c:pt idx="177">
                  <c:v>1.950496401334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5.8487512915990001</c:v>
                </c:pt>
                <c:pt idx="185">
                  <c:v>1.9494317406470001</c:v>
                </c:pt>
                <c:pt idx="186">
                  <c:v>0</c:v>
                </c:pt>
                <c:pt idx="187">
                  <c:v>0</c:v>
                </c:pt>
                <c:pt idx="188">
                  <c:v>3.8979516264199998</c:v>
                </c:pt>
                <c:pt idx="189">
                  <c:v>1.9488238847849999</c:v>
                </c:pt>
                <c:pt idx="190">
                  <c:v>0</c:v>
                </c:pt>
                <c:pt idx="191">
                  <c:v>3.89711613406</c:v>
                </c:pt>
                <c:pt idx="192">
                  <c:v>1.9484062037250001</c:v>
                </c:pt>
                <c:pt idx="193">
                  <c:v>1.948254364089</c:v>
                </c:pt>
                <c:pt idx="194">
                  <c:v>0</c:v>
                </c:pt>
                <c:pt idx="195">
                  <c:v>0</c:v>
                </c:pt>
                <c:pt idx="196">
                  <c:v>1.947798987144</c:v>
                </c:pt>
                <c:pt idx="197">
                  <c:v>0</c:v>
                </c:pt>
                <c:pt idx="198">
                  <c:v>0</c:v>
                </c:pt>
                <c:pt idx="199">
                  <c:v>3.89468764605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.946775166935</c:v>
                </c:pt>
                <c:pt idx="204">
                  <c:v>0</c:v>
                </c:pt>
                <c:pt idx="205">
                  <c:v>1.9464720194639999</c:v>
                </c:pt>
                <c:pt idx="206">
                  <c:v>0</c:v>
                </c:pt>
                <c:pt idx="207">
                  <c:v>1.9461689663890001</c:v>
                </c:pt>
                <c:pt idx="208">
                  <c:v>1.946017475236</c:v>
                </c:pt>
                <c:pt idx="209">
                  <c:v>0</c:v>
                </c:pt>
                <c:pt idx="210">
                  <c:v>0</c:v>
                </c:pt>
                <c:pt idx="211">
                  <c:v>7.7822525730069998</c:v>
                </c:pt>
                <c:pt idx="212">
                  <c:v>5.8348730915100004</c:v>
                </c:pt>
                <c:pt idx="213">
                  <c:v>0</c:v>
                </c:pt>
                <c:pt idx="214">
                  <c:v>1.943710153941</c:v>
                </c:pt>
                <c:pt idx="215">
                  <c:v>3.8862117208139999</c:v>
                </c:pt>
                <c:pt idx="216">
                  <c:v>1.9425019425009999</c:v>
                </c:pt>
                <c:pt idx="217">
                  <c:v>0</c:v>
                </c:pt>
                <c:pt idx="218">
                  <c:v>3.8825150932770001</c:v>
                </c:pt>
                <c:pt idx="219">
                  <c:v>0</c:v>
                </c:pt>
                <c:pt idx="220">
                  <c:v>0</c:v>
                </c:pt>
                <c:pt idx="221">
                  <c:v>5.8182382374610002</c:v>
                </c:pt>
                <c:pt idx="222">
                  <c:v>3.877547063727</c:v>
                </c:pt>
                <c:pt idx="223">
                  <c:v>0</c:v>
                </c:pt>
                <c:pt idx="224">
                  <c:v>7.750135627373</c:v>
                </c:pt>
                <c:pt idx="225">
                  <c:v>1.936933446966</c:v>
                </c:pt>
                <c:pt idx="226">
                  <c:v>0</c:v>
                </c:pt>
                <c:pt idx="227">
                  <c:v>1.935696173128</c:v>
                </c:pt>
                <c:pt idx="228">
                  <c:v>1.9351342983199999</c:v>
                </c:pt>
                <c:pt idx="229">
                  <c:v>0</c:v>
                </c:pt>
                <c:pt idx="230">
                  <c:v>1.933861922258</c:v>
                </c:pt>
                <c:pt idx="231">
                  <c:v>0</c:v>
                </c:pt>
                <c:pt idx="232">
                  <c:v>3.8847020433530002</c:v>
                </c:pt>
                <c:pt idx="233">
                  <c:v>1.9460932178649999</c:v>
                </c:pt>
                <c:pt idx="234">
                  <c:v>3.8998518056310001</c:v>
                </c:pt>
                <c:pt idx="235">
                  <c:v>3.9060211315740001</c:v>
                </c:pt>
                <c:pt idx="236">
                  <c:v>0</c:v>
                </c:pt>
                <c:pt idx="237">
                  <c:v>1.9532012969250001</c:v>
                </c:pt>
                <c:pt idx="238">
                  <c:v>7.8397553996309997</c:v>
                </c:pt>
                <c:pt idx="239">
                  <c:v>5.8793556226229997</c:v>
                </c:pt>
                <c:pt idx="240">
                  <c:v>3.939722249581</c:v>
                </c:pt>
                <c:pt idx="241">
                  <c:v>15.841584158414999</c:v>
                </c:pt>
                <c:pt idx="242">
                  <c:v>3.9995200575930001</c:v>
                </c:pt>
                <c:pt idx="243">
                  <c:v>10.003601296466</c:v>
                </c:pt>
                <c:pt idx="244">
                  <c:v>2.0011206275509998</c:v>
                </c:pt>
                <c:pt idx="245">
                  <c:v>0</c:v>
                </c:pt>
                <c:pt idx="246">
                  <c:v>4.0619034079359997</c:v>
                </c:pt>
                <c:pt idx="247">
                  <c:v>6.1601642710469999</c:v>
                </c:pt>
                <c:pt idx="248">
                  <c:v>10.364842454393999</c:v>
                </c:pt>
                <c:pt idx="249">
                  <c:v>10.556317956296001</c:v>
                </c:pt>
                <c:pt idx="250">
                  <c:v>2.115730455939</c:v>
                </c:pt>
                <c:pt idx="251">
                  <c:v>2.1168053174139998</c:v>
                </c:pt>
                <c:pt idx="252">
                  <c:v>6.4068339562189998</c:v>
                </c:pt>
                <c:pt idx="253">
                  <c:v>17.261095648045998</c:v>
                </c:pt>
                <c:pt idx="254">
                  <c:v>13.085865084730001</c:v>
                </c:pt>
                <c:pt idx="255">
                  <c:v>8.8323617735380004</c:v>
                </c:pt>
                <c:pt idx="256">
                  <c:v>11.231916614251</c:v>
                </c:pt>
                <c:pt idx="257">
                  <c:v>9.0130689499770007</c:v>
                </c:pt>
                <c:pt idx="258">
                  <c:v>13.539739134358999</c:v>
                </c:pt>
                <c:pt idx="259">
                  <c:v>27.369141293190999</c:v>
                </c:pt>
                <c:pt idx="260">
                  <c:v>25.371929419905001</c:v>
                </c:pt>
                <c:pt idx="261">
                  <c:v>21.038851746224001</c:v>
                </c:pt>
                <c:pt idx="262">
                  <c:v>23.755790473927998</c:v>
                </c:pt>
                <c:pt idx="263">
                  <c:v>24.283632831470999</c:v>
                </c:pt>
                <c:pt idx="264">
                  <c:v>19.496027684358999</c:v>
                </c:pt>
                <c:pt idx="265">
                  <c:v>19.538405177676999</c:v>
                </c:pt>
                <c:pt idx="266">
                  <c:v>47.035524198539001</c:v>
                </c:pt>
                <c:pt idx="267">
                  <c:v>40.170725583729997</c:v>
                </c:pt>
                <c:pt idx="268">
                  <c:v>38.508934072704001</c:v>
                </c:pt>
                <c:pt idx="269">
                  <c:v>36.039746692065997</c:v>
                </c:pt>
                <c:pt idx="270">
                  <c:v>62.702476747831</c:v>
                </c:pt>
                <c:pt idx="271">
                  <c:v>39.288614159616003</c:v>
                </c:pt>
                <c:pt idx="272">
                  <c:v>36.757948906450999</c:v>
                </c:pt>
                <c:pt idx="273">
                  <c:v>111.619007122355</c:v>
                </c:pt>
                <c:pt idx="274">
                  <c:v>67.445436641756004</c:v>
                </c:pt>
                <c:pt idx="275">
                  <c:v>71.371709352438003</c:v>
                </c:pt>
                <c:pt idx="276">
                  <c:v>53.364790472979998</c:v>
                </c:pt>
                <c:pt idx="277">
                  <c:v>66.616462955453002</c:v>
                </c:pt>
                <c:pt idx="278">
                  <c:v>34.906044563382999</c:v>
                </c:pt>
                <c:pt idx="279">
                  <c:v>40.831802140752998</c:v>
                </c:pt>
                <c:pt idx="280">
                  <c:v>106.404989211716</c:v>
                </c:pt>
                <c:pt idx="281">
                  <c:v>93.048385160283004</c:v>
                </c:pt>
                <c:pt idx="282">
                  <c:v>97.733797568870997</c:v>
                </c:pt>
                <c:pt idx="283">
                  <c:v>77.714569927569997</c:v>
                </c:pt>
                <c:pt idx="284">
                  <c:v>86.377887260861002</c:v>
                </c:pt>
                <c:pt idx="285">
                  <c:v>105.98663926002</c:v>
                </c:pt>
                <c:pt idx="286">
                  <c:v>54.697554697553997</c:v>
                </c:pt>
                <c:pt idx="287">
                  <c:v>127.13107539850699</c:v>
                </c:pt>
                <c:pt idx="288">
                  <c:v>99.810360315400004</c:v>
                </c:pt>
                <c:pt idx="289">
                  <c:v>73.409189495812001</c:v>
                </c:pt>
                <c:pt idx="290">
                  <c:v>108.64398723433099</c:v>
                </c:pt>
                <c:pt idx="291">
                  <c:v>135.92639063153399</c:v>
                </c:pt>
                <c:pt idx="292">
                  <c:v>84.054214968653994</c:v>
                </c:pt>
                <c:pt idx="293">
                  <c:v>56.144290827425998</c:v>
                </c:pt>
                <c:pt idx="294">
                  <c:v>145.76222980659799</c:v>
                </c:pt>
                <c:pt idx="295">
                  <c:v>144.55567200318001</c:v>
                </c:pt>
                <c:pt idx="296">
                  <c:v>91.948949942991007</c:v>
                </c:pt>
                <c:pt idx="297">
                  <c:v>138.602734594493</c:v>
                </c:pt>
                <c:pt idx="298">
                  <c:v>124.00697539236501</c:v>
                </c:pt>
                <c:pt idx="299">
                  <c:v>93.519853485561995</c:v>
                </c:pt>
                <c:pt idx="300">
                  <c:v>90.016046338695006</c:v>
                </c:pt>
                <c:pt idx="301">
                  <c:v>143.08994793115701</c:v>
                </c:pt>
                <c:pt idx="302">
                  <c:v>112.894121441819</c:v>
                </c:pt>
                <c:pt idx="303">
                  <c:v>135.29580583001899</c:v>
                </c:pt>
                <c:pt idx="304">
                  <c:v>100.351229302558</c:v>
                </c:pt>
                <c:pt idx="305">
                  <c:v>125.42710090394</c:v>
                </c:pt>
                <c:pt idx="306">
                  <c:v>52.176181573111002</c:v>
                </c:pt>
                <c:pt idx="307">
                  <c:v>52.328623757194997</c:v>
                </c:pt>
                <c:pt idx="308">
                  <c:v>106.063284426374</c:v>
                </c:pt>
                <c:pt idx="309">
                  <c:v>103.240865427776</c:v>
                </c:pt>
                <c:pt idx="310">
                  <c:v>82.109296597024994</c:v>
                </c:pt>
                <c:pt idx="311">
                  <c:v>69.663756269738002</c:v>
                </c:pt>
                <c:pt idx="312">
                  <c:v>76.350448558885006</c:v>
                </c:pt>
                <c:pt idx="313">
                  <c:v>57.578810997551997</c:v>
                </c:pt>
                <c:pt idx="314">
                  <c:v>33.692722371967001</c:v>
                </c:pt>
                <c:pt idx="315">
                  <c:v>82.640610568274994</c:v>
                </c:pt>
                <c:pt idx="316">
                  <c:v>68.880688806888003</c:v>
                </c:pt>
                <c:pt idx="317">
                  <c:v>44.984255510571003</c:v>
                </c:pt>
                <c:pt idx="318">
                  <c:v>40.654538062811</c:v>
                </c:pt>
                <c:pt idx="319">
                  <c:v>26.026755504657999</c:v>
                </c:pt>
                <c:pt idx="320">
                  <c:v>41.821318417062997</c:v>
                </c:pt>
                <c:pt idx="321">
                  <c:v>31.456432840514999</c:v>
                </c:pt>
                <c:pt idx="322">
                  <c:v>42.480883602378</c:v>
                </c:pt>
                <c:pt idx="323">
                  <c:v>48.439181916038002</c:v>
                </c:pt>
                <c:pt idx="324">
                  <c:v>54.623914349701998</c:v>
                </c:pt>
                <c:pt idx="325">
                  <c:v>49.477735019241003</c:v>
                </c:pt>
                <c:pt idx="326">
                  <c:v>10.998075336815999</c:v>
                </c:pt>
                <c:pt idx="327">
                  <c:v>11.001100110011</c:v>
                </c:pt>
                <c:pt idx="328">
                  <c:v>16.508006383095001</c:v>
                </c:pt>
                <c:pt idx="329">
                  <c:v>77.769136762580999</c:v>
                </c:pt>
                <c:pt idx="330">
                  <c:v>89.731366720878995</c:v>
                </c:pt>
                <c:pt idx="331">
                  <c:v>28.362357479153001</c:v>
                </c:pt>
                <c:pt idx="332">
                  <c:v>74.532737071436003</c:v>
                </c:pt>
                <c:pt idx="333">
                  <c:v>34.480776966839997</c:v>
                </c:pt>
                <c:pt idx="334">
                  <c:v>17.253278122843</c:v>
                </c:pt>
                <c:pt idx="335">
                  <c:v>51.879179156097997</c:v>
                </c:pt>
                <c:pt idx="336">
                  <c:v>98.929236499067997</c:v>
                </c:pt>
                <c:pt idx="337">
                  <c:v>70.663054999411003</c:v>
                </c:pt>
                <c:pt idx="338">
                  <c:v>35.797386790764001</c:v>
                </c:pt>
                <c:pt idx="339">
                  <c:v>48.399782200979999</c:v>
                </c:pt>
                <c:pt idx="340">
                  <c:v>37.211610022325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46D-4FF1-A45D-1ECFD79ADBFD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D$2:$D$342</c:f>
              <c:numCache>
                <c:formatCode>General</c:formatCode>
                <c:ptCount val="341"/>
                <c:pt idx="226">
                  <c:v>0</c:v>
                </c:pt>
                <c:pt idx="228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31.11387678904700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13.248542660307001</c:v>
                </c:pt>
                <c:pt idx="258">
                  <c:v>0</c:v>
                </c:pt>
                <c:pt idx="259">
                  <c:v>12.368583797155001</c:v>
                </c:pt>
                <c:pt idx="260">
                  <c:v>11.659088259298001</c:v>
                </c:pt>
                <c:pt idx="261">
                  <c:v>21.845985800108998</c:v>
                </c:pt>
                <c:pt idx="262">
                  <c:v>0</c:v>
                </c:pt>
                <c:pt idx="263">
                  <c:v>9.2971364819629994</c:v>
                </c:pt>
                <c:pt idx="264">
                  <c:v>9.1717875813990002</c:v>
                </c:pt>
                <c:pt idx="265">
                  <c:v>0</c:v>
                </c:pt>
                <c:pt idx="266">
                  <c:v>17.323516673884001</c:v>
                </c:pt>
                <c:pt idx="267">
                  <c:v>8.2569564858389999</c:v>
                </c:pt>
                <c:pt idx="268">
                  <c:v>15.396458814472</c:v>
                </c:pt>
                <c:pt idx="269">
                  <c:v>7.6347533974650004</c:v>
                </c:pt>
                <c:pt idx="270">
                  <c:v>43.894944765527001</c:v>
                </c:pt>
                <c:pt idx="271">
                  <c:v>0</c:v>
                </c:pt>
                <c:pt idx="272">
                  <c:v>14.428973378544001</c:v>
                </c:pt>
                <c:pt idx="273">
                  <c:v>13.968431345159001</c:v>
                </c:pt>
                <c:pt idx="274">
                  <c:v>13.443570612354</c:v>
                </c:pt>
                <c:pt idx="275">
                  <c:v>6.4457908985429997</c:v>
                </c:pt>
                <c:pt idx="276">
                  <c:v>6.1210748607449998</c:v>
                </c:pt>
                <c:pt idx="277">
                  <c:v>28.712530148155999</c:v>
                </c:pt>
                <c:pt idx="278">
                  <c:v>34.168564920272999</c:v>
                </c:pt>
                <c:pt idx="279">
                  <c:v>5.6657223796030003</c:v>
                </c:pt>
                <c:pt idx="280">
                  <c:v>16.572754391779</c:v>
                </c:pt>
                <c:pt idx="281">
                  <c:v>48.340315823395997</c:v>
                </c:pt>
                <c:pt idx="282">
                  <c:v>20.844189682126</c:v>
                </c:pt>
                <c:pt idx="283">
                  <c:v>55.662382349963998</c:v>
                </c:pt>
                <c:pt idx="284">
                  <c:v>38.701562575588</c:v>
                </c:pt>
                <c:pt idx="285">
                  <c:v>19.238168526355999</c:v>
                </c:pt>
                <c:pt idx="286">
                  <c:v>9.5941667466180007</c:v>
                </c:pt>
                <c:pt idx="287">
                  <c:v>28.237951807228001</c:v>
                </c:pt>
                <c:pt idx="288">
                  <c:v>45.733101618950997</c:v>
                </c:pt>
                <c:pt idx="289">
                  <c:v>31.886302555459</c:v>
                </c:pt>
                <c:pt idx="290">
                  <c:v>26.707023947298001</c:v>
                </c:pt>
                <c:pt idx="291">
                  <c:v>55.969346019718003</c:v>
                </c:pt>
                <c:pt idx="292">
                  <c:v>34.240712206813001</c:v>
                </c:pt>
                <c:pt idx="293">
                  <c:v>12.810658467845</c:v>
                </c:pt>
                <c:pt idx="294">
                  <c:v>25.224922223156</c:v>
                </c:pt>
                <c:pt idx="295">
                  <c:v>70.126227208976005</c:v>
                </c:pt>
                <c:pt idx="296">
                  <c:v>32.359841436776001</c:v>
                </c:pt>
                <c:pt idx="297">
                  <c:v>35.693039857226999</c:v>
                </c:pt>
                <c:pt idx="298">
                  <c:v>38.309772823046998</c:v>
                </c:pt>
                <c:pt idx="299">
                  <c:v>19.051973784484002</c:v>
                </c:pt>
                <c:pt idx="300">
                  <c:v>41.739394399331999</c:v>
                </c:pt>
                <c:pt idx="301">
                  <c:v>52.346232940736002</c:v>
                </c:pt>
                <c:pt idx="302">
                  <c:v>44.280442804427999</c:v>
                </c:pt>
                <c:pt idx="303">
                  <c:v>43.625259024975001</c:v>
                </c:pt>
                <c:pt idx="304">
                  <c:v>28.592873226348001</c:v>
                </c:pt>
                <c:pt idx="305">
                  <c:v>38.232942893885998</c:v>
                </c:pt>
                <c:pt idx="306">
                  <c:v>13.84514208577</c:v>
                </c:pt>
                <c:pt idx="307">
                  <c:v>10.360904852357001</c:v>
                </c:pt>
                <c:pt idx="308">
                  <c:v>44.435329505058</c:v>
                </c:pt>
                <c:pt idx="309">
                  <c:v>43.914468128229998</c:v>
                </c:pt>
                <c:pt idx="310">
                  <c:v>26.704943752712001</c:v>
                </c:pt>
                <c:pt idx="311">
                  <c:v>29.659899815448998</c:v>
                </c:pt>
                <c:pt idx="312">
                  <c:v>22.641265323283999</c:v>
                </c:pt>
                <c:pt idx="313">
                  <c:v>12.891166328273</c:v>
                </c:pt>
                <c:pt idx="314">
                  <c:v>6.432522835456</c:v>
                </c:pt>
                <c:pt idx="315">
                  <c:v>15.977503674825</c:v>
                </c:pt>
                <c:pt idx="316">
                  <c:v>22.196150553317999</c:v>
                </c:pt>
                <c:pt idx="317">
                  <c:v>25.116162250407999</c:v>
                </c:pt>
                <c:pt idx="318">
                  <c:v>9.3228503060999994</c:v>
                </c:pt>
                <c:pt idx="319">
                  <c:v>39.824771007566</c:v>
                </c:pt>
                <c:pt idx="320">
                  <c:v>15.280239594156001</c:v>
                </c:pt>
                <c:pt idx="321">
                  <c:v>18.307194727527001</c:v>
                </c:pt>
                <c:pt idx="322">
                  <c:v>30.290179923667999</c:v>
                </c:pt>
                <c:pt idx="323">
                  <c:v>27.057090460872001</c:v>
                </c:pt>
                <c:pt idx="324">
                  <c:v>14.910684996868</c:v>
                </c:pt>
                <c:pt idx="325">
                  <c:v>23.776265343121</c:v>
                </c:pt>
                <c:pt idx="326">
                  <c:v>2.9717682020799998</c:v>
                </c:pt>
                <c:pt idx="327">
                  <c:v>14.857957922262999</c:v>
                </c:pt>
                <c:pt idx="328">
                  <c:v>11.88495364868</c:v>
                </c:pt>
                <c:pt idx="329">
                  <c:v>26.608325449384999</c:v>
                </c:pt>
                <c:pt idx="330">
                  <c:v>35.301385579383002</c:v>
                </c:pt>
                <c:pt idx="331">
                  <c:v>40.945250350959</c:v>
                </c:pt>
                <c:pt idx="332">
                  <c:v>20.363043984175</c:v>
                </c:pt>
                <c:pt idx="333">
                  <c:v>26.151387476391001</c:v>
                </c:pt>
                <c:pt idx="334">
                  <c:v>5.8109128944149999</c:v>
                </c:pt>
                <c:pt idx="335">
                  <c:v>37.738039944263001</c:v>
                </c:pt>
                <c:pt idx="336">
                  <c:v>60.690133518293003</c:v>
                </c:pt>
                <c:pt idx="337">
                  <c:v>40.236822440650002</c:v>
                </c:pt>
                <c:pt idx="338">
                  <c:v>37.136490887275997</c:v>
                </c:pt>
                <c:pt idx="339">
                  <c:v>39.741115022141003</c:v>
                </c:pt>
                <c:pt idx="340">
                  <c:v>28.071751396568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46D-4FF1-A45D-1ECFD79AD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ax val="4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407698460641014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B$2:$B$342</c:f>
              <c:numCache>
                <c:formatCode>General</c:formatCode>
                <c:ptCount val="341"/>
                <c:pt idx="0">
                  <c:v>125.260551733586</c:v>
                </c:pt>
                <c:pt idx="1">
                  <c:v>111.435446333477</c:v>
                </c:pt>
                <c:pt idx="2">
                  <c:v>135.194242315797</c:v>
                </c:pt>
                <c:pt idx="3">
                  <c:v>109.980203563358</c:v>
                </c:pt>
                <c:pt idx="4">
                  <c:v>110.37084604270299</c:v>
                </c:pt>
                <c:pt idx="5">
                  <c:v>54.360409515085003</c:v>
                </c:pt>
                <c:pt idx="6">
                  <c:v>30.286510388273001</c:v>
                </c:pt>
                <c:pt idx="7">
                  <c:v>131.65683492886399</c:v>
                </c:pt>
                <c:pt idx="8">
                  <c:v>121.158147626542</c:v>
                </c:pt>
                <c:pt idx="9">
                  <c:v>108.401654440784</c:v>
                </c:pt>
                <c:pt idx="10">
                  <c:v>116.069125612587</c:v>
                </c:pt>
                <c:pt idx="11">
                  <c:v>112.64867969121001</c:v>
                </c:pt>
                <c:pt idx="12">
                  <c:v>55.350757751872997</c:v>
                </c:pt>
                <c:pt idx="13">
                  <c:v>29.956729168978001</c:v>
                </c:pt>
                <c:pt idx="14">
                  <c:v>142.15206859690201</c:v>
                </c:pt>
                <c:pt idx="15">
                  <c:v>138.29799702307699</c:v>
                </c:pt>
                <c:pt idx="16">
                  <c:v>137.347742798279</c:v>
                </c:pt>
                <c:pt idx="17">
                  <c:v>133.22708369649101</c:v>
                </c:pt>
                <c:pt idx="18">
                  <c:v>157.488380430468</c:v>
                </c:pt>
                <c:pt idx="19">
                  <c:v>73.260073260073</c:v>
                </c:pt>
                <c:pt idx="20">
                  <c:v>42.550448069112001</c:v>
                </c:pt>
                <c:pt idx="21">
                  <c:v>162.429844833278</c:v>
                </c:pt>
                <c:pt idx="22">
                  <c:v>204.98435645700701</c:v>
                </c:pt>
                <c:pt idx="23">
                  <c:v>170.622635018919</c:v>
                </c:pt>
                <c:pt idx="24">
                  <c:v>175.38690350914101</c:v>
                </c:pt>
                <c:pt idx="25">
                  <c:v>195.77581525622301</c:v>
                </c:pt>
                <c:pt idx="26">
                  <c:v>103.11197674252</c:v>
                </c:pt>
                <c:pt idx="27">
                  <c:v>50.159075926508997</c:v>
                </c:pt>
                <c:pt idx="28">
                  <c:v>168.237853517041</c:v>
                </c:pt>
                <c:pt idx="29">
                  <c:v>200.58271474795299</c:v>
                </c:pt>
                <c:pt idx="30">
                  <c:v>165.428415284403</c:v>
                </c:pt>
                <c:pt idx="31">
                  <c:v>164.13990688790699</c:v>
                </c:pt>
                <c:pt idx="32">
                  <c:v>164.02323411683199</c:v>
                </c:pt>
                <c:pt idx="33">
                  <c:v>91.827364554637001</c:v>
                </c:pt>
                <c:pt idx="34">
                  <c:v>55.722891566264998</c:v>
                </c:pt>
                <c:pt idx="35">
                  <c:v>157.559046767767</c:v>
                </c:pt>
                <c:pt idx="36">
                  <c:v>169.369974213039</c:v>
                </c:pt>
                <c:pt idx="37">
                  <c:v>185.642614952668</c:v>
                </c:pt>
                <c:pt idx="38">
                  <c:v>131.11618436478</c:v>
                </c:pt>
                <c:pt idx="39">
                  <c:v>161.58602902333601</c:v>
                </c:pt>
                <c:pt idx="40">
                  <c:v>74.585120268506003</c:v>
                </c:pt>
                <c:pt idx="41">
                  <c:v>45.061843495555003</c:v>
                </c:pt>
                <c:pt idx="42">
                  <c:v>154.30655569063799</c:v>
                </c:pt>
                <c:pt idx="43">
                  <c:v>142.38773274917801</c:v>
                </c:pt>
                <c:pt idx="44">
                  <c:v>143.059267410784</c:v>
                </c:pt>
                <c:pt idx="45">
                  <c:v>127.903488133398</c:v>
                </c:pt>
                <c:pt idx="46">
                  <c:v>120.763351500802</c:v>
                </c:pt>
                <c:pt idx="47">
                  <c:v>44.495296211543</c:v>
                </c:pt>
                <c:pt idx="48">
                  <c:v>34.963923587933998</c:v>
                </c:pt>
                <c:pt idx="49">
                  <c:v>145.38831461392201</c:v>
                </c:pt>
                <c:pt idx="50">
                  <c:v>101.15119695583</c:v>
                </c:pt>
                <c:pt idx="51">
                  <c:v>104.982637486877</c:v>
                </c:pt>
                <c:pt idx="52">
                  <c:v>76.597131681877002</c:v>
                </c:pt>
                <c:pt idx="53">
                  <c:v>87.261471590628005</c:v>
                </c:pt>
                <c:pt idx="54">
                  <c:v>44.499381953027999</c:v>
                </c:pt>
                <c:pt idx="55">
                  <c:v>23.098117503423001</c:v>
                </c:pt>
                <c:pt idx="56">
                  <c:v>86.492240648025998</c:v>
                </c:pt>
                <c:pt idx="57">
                  <c:v>88.851634534786001</c:v>
                </c:pt>
                <c:pt idx="58">
                  <c:v>59.233685350663002</c:v>
                </c:pt>
                <c:pt idx="59">
                  <c:v>83.853854710361006</c:v>
                </c:pt>
                <c:pt idx="60">
                  <c:v>43.392231054950997</c:v>
                </c:pt>
                <c:pt idx="61">
                  <c:v>36.479232893845001</c:v>
                </c:pt>
                <c:pt idx="62">
                  <c:v>39.96594206676</c:v>
                </c:pt>
                <c:pt idx="63">
                  <c:v>38.607328372875998</c:v>
                </c:pt>
                <c:pt idx="64">
                  <c:v>113.398773875757</c:v>
                </c:pt>
                <c:pt idx="65">
                  <c:v>85.927570218935998</c:v>
                </c:pt>
                <c:pt idx="66">
                  <c:v>61.645574210391999</c:v>
                </c:pt>
                <c:pt idx="67">
                  <c:v>47.878609310548001</c:v>
                </c:pt>
                <c:pt idx="68">
                  <c:v>22.144715717211</c:v>
                </c:pt>
                <c:pt idx="69">
                  <c:v>14.774049382259999</c:v>
                </c:pt>
                <c:pt idx="70">
                  <c:v>35.500747384154998</c:v>
                </c:pt>
                <c:pt idx="71">
                  <c:v>49.202354143405003</c:v>
                </c:pt>
                <c:pt idx="72">
                  <c:v>44.129779926706</c:v>
                </c:pt>
                <c:pt idx="73">
                  <c:v>37.099230679111002</c:v>
                </c:pt>
                <c:pt idx="74">
                  <c:v>45.172440883023</c:v>
                </c:pt>
                <c:pt idx="75">
                  <c:v>11.820098106813999</c:v>
                </c:pt>
                <c:pt idx="76">
                  <c:v>9.8751777531990008</c:v>
                </c:pt>
                <c:pt idx="77">
                  <c:v>51.454581436769999</c:v>
                </c:pt>
                <c:pt idx="78">
                  <c:v>46.368163215933997</c:v>
                </c:pt>
                <c:pt idx="79">
                  <c:v>34.759139609061002</c:v>
                </c:pt>
                <c:pt idx="80">
                  <c:v>24.917978321358</c:v>
                </c:pt>
                <c:pt idx="81">
                  <c:v>19.010202141815999</c:v>
                </c:pt>
                <c:pt idx="82">
                  <c:v>16.988744956466</c:v>
                </c:pt>
                <c:pt idx="83">
                  <c:v>6.387735547748</c:v>
                </c:pt>
                <c:pt idx="84">
                  <c:v>21.514167079021</c:v>
                </c:pt>
                <c:pt idx="85">
                  <c:v>21.772736179755</c:v>
                </c:pt>
                <c:pt idx="86">
                  <c:v>13.222557683407</c:v>
                </c:pt>
                <c:pt idx="87">
                  <c:v>31.190820986965999</c:v>
                </c:pt>
                <c:pt idx="88">
                  <c:v>27.102107188832999</c:v>
                </c:pt>
                <c:pt idx="89">
                  <c:v>6.7900955140099999</c:v>
                </c:pt>
                <c:pt idx="90">
                  <c:v>6.8061164299649999</c:v>
                </c:pt>
                <c:pt idx="91">
                  <c:v>36.588154584953003</c:v>
                </c:pt>
                <c:pt idx="92">
                  <c:v>18.414510634378999</c:v>
                </c:pt>
                <c:pt idx="93">
                  <c:v>16.203703703702999</c:v>
                </c:pt>
                <c:pt idx="94">
                  <c:v>11.652567060522999</c:v>
                </c:pt>
                <c:pt idx="95">
                  <c:v>35.146914100940997</c:v>
                </c:pt>
                <c:pt idx="96">
                  <c:v>11.730755695280999</c:v>
                </c:pt>
                <c:pt idx="97">
                  <c:v>7.051523128995</c:v>
                </c:pt>
                <c:pt idx="98">
                  <c:v>23.589356482355001</c:v>
                </c:pt>
                <c:pt idx="99">
                  <c:v>42.626755393468002</c:v>
                </c:pt>
                <c:pt idx="100">
                  <c:v>9.5195030819389999</c:v>
                </c:pt>
                <c:pt idx="101">
                  <c:v>16.736001530147998</c:v>
                </c:pt>
                <c:pt idx="102">
                  <c:v>14.413721863213</c:v>
                </c:pt>
                <c:pt idx="103">
                  <c:v>0</c:v>
                </c:pt>
                <c:pt idx="104">
                  <c:v>2.4054652169719999</c:v>
                </c:pt>
                <c:pt idx="105">
                  <c:v>9.6427366086490007</c:v>
                </c:pt>
                <c:pt idx="106">
                  <c:v>4.8305678332479998</c:v>
                </c:pt>
                <c:pt idx="107">
                  <c:v>4.8460177848850003</c:v>
                </c:pt>
                <c:pt idx="108">
                  <c:v>9.7299927025049993</c:v>
                </c:pt>
                <c:pt idx="109">
                  <c:v>4.884243430692</c:v>
                </c:pt>
                <c:pt idx="110">
                  <c:v>7.3290499108290001</c:v>
                </c:pt>
                <c:pt idx="111">
                  <c:v>0</c:v>
                </c:pt>
                <c:pt idx="112">
                  <c:v>4.8996790710200004</c:v>
                </c:pt>
                <c:pt idx="113">
                  <c:v>12.273552948107</c:v>
                </c:pt>
                <c:pt idx="114">
                  <c:v>14.784879996057001</c:v>
                </c:pt>
                <c:pt idx="115">
                  <c:v>7.4171137538009999</c:v>
                </c:pt>
                <c:pt idx="116">
                  <c:v>4.9643805694139997</c:v>
                </c:pt>
                <c:pt idx="117">
                  <c:v>0</c:v>
                </c:pt>
                <c:pt idx="118">
                  <c:v>0</c:v>
                </c:pt>
                <c:pt idx="119">
                  <c:v>7.5046904315190002</c:v>
                </c:pt>
                <c:pt idx="120">
                  <c:v>2.5183207837010002</c:v>
                </c:pt>
                <c:pt idx="121">
                  <c:v>0</c:v>
                </c:pt>
                <c:pt idx="122">
                  <c:v>10.236462278635999</c:v>
                </c:pt>
                <c:pt idx="123">
                  <c:v>2.5831116162519998</c:v>
                </c:pt>
                <c:pt idx="124">
                  <c:v>0</c:v>
                </c:pt>
                <c:pt idx="125">
                  <c:v>2.5896001657340002</c:v>
                </c:pt>
                <c:pt idx="126">
                  <c:v>2.6080379730319998</c:v>
                </c:pt>
                <c:pt idx="127">
                  <c:v>0</c:v>
                </c:pt>
                <c:pt idx="128">
                  <c:v>2.6450128283119998</c:v>
                </c:pt>
                <c:pt idx="129">
                  <c:v>2.6712969146519998</c:v>
                </c:pt>
                <c:pt idx="131">
                  <c:v>2.7098802232939998</c:v>
                </c:pt>
                <c:pt idx="132">
                  <c:v>2.7164316953249998</c:v>
                </c:pt>
                <c:pt idx="133">
                  <c:v>2.7332859563760001</c:v>
                </c:pt>
                <c:pt idx="135">
                  <c:v>0</c:v>
                </c:pt>
                <c:pt idx="136">
                  <c:v>5.5865921787700001</c:v>
                </c:pt>
                <c:pt idx="137">
                  <c:v>8.4578517056660001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5.7646855364030003</c:v>
                </c:pt>
                <c:pt idx="143">
                  <c:v>2.9026733621659999</c:v>
                </c:pt>
                <c:pt idx="145">
                  <c:v>0</c:v>
                </c:pt>
                <c:pt idx="146">
                  <c:v>2.939360982922</c:v>
                </c:pt>
                <c:pt idx="147">
                  <c:v>0</c:v>
                </c:pt>
                <c:pt idx="148">
                  <c:v>5.9470710674990004</c:v>
                </c:pt>
                <c:pt idx="150">
                  <c:v>3.0127741624479998</c:v>
                </c:pt>
                <c:pt idx="151">
                  <c:v>3.0342567588059999</c:v>
                </c:pt>
                <c:pt idx="153">
                  <c:v>3.046458492003</c:v>
                </c:pt>
                <c:pt idx="154">
                  <c:v>6.1242612609849996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1446540880499998</c:v>
                </c:pt>
                <c:pt idx="159">
                  <c:v>3.1491103763180002</c:v>
                </c:pt>
                <c:pt idx="161">
                  <c:v>3.1722869016269999</c:v>
                </c:pt>
                <c:pt idx="162">
                  <c:v>6.3879395700910004</c:v>
                </c:pt>
                <c:pt idx="163">
                  <c:v>3.218435196807</c:v>
                </c:pt>
                <c:pt idx="164">
                  <c:v>9.7298349171339993</c:v>
                </c:pt>
                <c:pt idx="165">
                  <c:v>0</c:v>
                </c:pt>
                <c:pt idx="166">
                  <c:v>0</c:v>
                </c:pt>
                <c:pt idx="167">
                  <c:v>6.5468591443250004</c:v>
                </c:pt>
                <c:pt idx="168">
                  <c:v>6.5530799475750001</c:v>
                </c:pt>
                <c:pt idx="169">
                  <c:v>3.28051700948</c:v>
                </c:pt>
                <c:pt idx="170">
                  <c:v>9.9036049121879994</c:v>
                </c:pt>
                <c:pt idx="171">
                  <c:v>0</c:v>
                </c:pt>
                <c:pt idx="172">
                  <c:v>6.6751218209729997</c:v>
                </c:pt>
                <c:pt idx="173">
                  <c:v>0</c:v>
                </c:pt>
                <c:pt idx="174">
                  <c:v>3.348737525952</c:v>
                </c:pt>
                <c:pt idx="175">
                  <c:v>3.3675702980289999</c:v>
                </c:pt>
                <c:pt idx="176">
                  <c:v>0</c:v>
                </c:pt>
                <c:pt idx="177">
                  <c:v>0</c:v>
                </c:pt>
                <c:pt idx="178">
                  <c:v>6.8551842330759998</c:v>
                </c:pt>
                <c:pt idx="179">
                  <c:v>0</c:v>
                </c:pt>
                <c:pt idx="180">
                  <c:v>3.4538735191510002</c:v>
                </c:pt>
                <c:pt idx="181">
                  <c:v>0</c:v>
                </c:pt>
                <c:pt idx="182">
                  <c:v>0</c:v>
                </c:pt>
                <c:pt idx="183">
                  <c:v>3.50594257266</c:v>
                </c:pt>
                <c:pt idx="184">
                  <c:v>3.5292041644599998</c:v>
                </c:pt>
                <c:pt idx="185">
                  <c:v>0</c:v>
                </c:pt>
                <c:pt idx="186">
                  <c:v>3.5775615340579998</c:v>
                </c:pt>
                <c:pt idx="187">
                  <c:v>0</c:v>
                </c:pt>
                <c:pt idx="188">
                  <c:v>0</c:v>
                </c:pt>
                <c:pt idx="189">
                  <c:v>7.2264778147130002</c:v>
                </c:pt>
                <c:pt idx="190">
                  <c:v>3.6354382520809998</c:v>
                </c:pt>
                <c:pt idx="191">
                  <c:v>3.6565745209879998</c:v>
                </c:pt>
                <c:pt idx="192">
                  <c:v>0</c:v>
                </c:pt>
                <c:pt idx="193">
                  <c:v>7.3868882733139998</c:v>
                </c:pt>
                <c:pt idx="194">
                  <c:v>7.404939094375</c:v>
                </c:pt>
                <c:pt idx="195">
                  <c:v>0</c:v>
                </c:pt>
                <c:pt idx="196">
                  <c:v>7.4457391757559996</c:v>
                </c:pt>
                <c:pt idx="197">
                  <c:v>7.4836295603360004</c:v>
                </c:pt>
                <c:pt idx="198">
                  <c:v>7.5221904618620004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1.520737327188</c:v>
                </c:pt>
                <c:pt idx="204">
                  <c:v>0</c:v>
                </c:pt>
                <c:pt idx="205">
                  <c:v>0</c:v>
                </c:pt>
                <c:pt idx="206">
                  <c:v>3.9042673642289998</c:v>
                </c:pt>
                <c:pt idx="207">
                  <c:v>0</c:v>
                </c:pt>
                <c:pt idx="208">
                  <c:v>7.8653452886580002</c:v>
                </c:pt>
                <c:pt idx="209">
                  <c:v>3.9385584875930002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16.092046506014</c:v>
                </c:pt>
                <c:pt idx="214">
                  <c:v>8.0945442771570004</c:v>
                </c:pt>
                <c:pt idx="215">
                  <c:v>4.0492387431159997</c:v>
                </c:pt>
                <c:pt idx="216">
                  <c:v>0</c:v>
                </c:pt>
                <c:pt idx="217">
                  <c:v>4.0700040700039999</c:v>
                </c:pt>
                <c:pt idx="218">
                  <c:v>12.266426789876</c:v>
                </c:pt>
                <c:pt idx="219">
                  <c:v>0</c:v>
                </c:pt>
                <c:pt idx="220">
                  <c:v>8.2430037505660003</c:v>
                </c:pt>
                <c:pt idx="221">
                  <c:v>0</c:v>
                </c:pt>
                <c:pt idx="222">
                  <c:v>0</c:v>
                </c:pt>
                <c:pt idx="223">
                  <c:v>4.1380451874529998</c:v>
                </c:pt>
                <c:pt idx="224">
                  <c:v>8.2939371319559996</c:v>
                </c:pt>
                <c:pt idx="225">
                  <c:v>12.469346190614001</c:v>
                </c:pt>
                <c:pt idx="226">
                  <c:v>8.3281282531750005</c:v>
                </c:pt>
                <c:pt idx="227">
                  <c:v>8.3451556371520006</c:v>
                </c:pt>
                <c:pt idx="228">
                  <c:v>20.909128925688002</c:v>
                </c:pt>
                <c:pt idx="229">
                  <c:v>4.1818257851369998</c:v>
                </c:pt>
                <c:pt idx="230">
                  <c:v>0</c:v>
                </c:pt>
                <c:pt idx="231">
                  <c:v>25.139313696736</c:v>
                </c:pt>
                <c:pt idx="232">
                  <c:v>20.974914002852</c:v>
                </c:pt>
                <c:pt idx="233">
                  <c:v>16.803898504452999</c:v>
                </c:pt>
                <c:pt idx="234">
                  <c:v>12.615643397813001</c:v>
                </c:pt>
                <c:pt idx="235">
                  <c:v>12.639029322548</c:v>
                </c:pt>
                <c:pt idx="236">
                  <c:v>12.636899747261999</c:v>
                </c:pt>
                <c:pt idx="237">
                  <c:v>12.633706729554</c:v>
                </c:pt>
                <c:pt idx="238">
                  <c:v>8.4320586871280003</c:v>
                </c:pt>
                <c:pt idx="239">
                  <c:v>16.895459345300001</c:v>
                </c:pt>
                <c:pt idx="240">
                  <c:v>33.829499323409998</c:v>
                </c:pt>
                <c:pt idx="241">
                  <c:v>33.886818027787001</c:v>
                </c:pt>
                <c:pt idx="242">
                  <c:v>25.459328722365999</c:v>
                </c:pt>
                <c:pt idx="243">
                  <c:v>12.733987011332999</c:v>
                </c:pt>
                <c:pt idx="244">
                  <c:v>8.4907662916569997</c:v>
                </c:pt>
                <c:pt idx="245">
                  <c:v>17.013312917356998</c:v>
                </c:pt>
                <c:pt idx="246">
                  <c:v>34.080259009968003</c:v>
                </c:pt>
                <c:pt idx="247">
                  <c:v>21.334698754053001</c:v>
                </c:pt>
                <c:pt idx="248">
                  <c:v>12.823252831801</c:v>
                </c:pt>
                <c:pt idx="249">
                  <c:v>12.847965738758001</c:v>
                </c:pt>
                <c:pt idx="250">
                  <c:v>12.851818532322</c:v>
                </c:pt>
                <c:pt idx="251">
                  <c:v>8.5689802913449995</c:v>
                </c:pt>
                <c:pt idx="252">
                  <c:v>34.328870580157002</c:v>
                </c:pt>
                <c:pt idx="253">
                  <c:v>25.748862758561</c:v>
                </c:pt>
                <c:pt idx="254">
                  <c:v>30.098464978286</c:v>
                </c:pt>
                <c:pt idx="255">
                  <c:v>47.344409055694001</c:v>
                </c:pt>
                <c:pt idx="256">
                  <c:v>34.473842971644999</c:v>
                </c:pt>
                <c:pt idx="257">
                  <c:v>17.241379310344001</c:v>
                </c:pt>
                <c:pt idx="258">
                  <c:v>30.177616830487999</c:v>
                </c:pt>
                <c:pt idx="259">
                  <c:v>86.325966850827996</c:v>
                </c:pt>
                <c:pt idx="260">
                  <c:v>73.475385745775</c:v>
                </c:pt>
                <c:pt idx="261">
                  <c:v>56.257573134845003</c:v>
                </c:pt>
                <c:pt idx="262">
                  <c:v>112.671173513607</c:v>
                </c:pt>
                <c:pt idx="263">
                  <c:v>117.223114661572</c:v>
                </c:pt>
                <c:pt idx="264">
                  <c:v>43.427281017935002</c:v>
                </c:pt>
                <c:pt idx="265">
                  <c:v>26.058631921823999</c:v>
                </c:pt>
                <c:pt idx="266">
                  <c:v>104.36597669159799</c:v>
                </c:pt>
                <c:pt idx="267">
                  <c:v>126.24064078008</c:v>
                </c:pt>
                <c:pt idx="268">
                  <c:v>161.25517541948099</c:v>
                </c:pt>
                <c:pt idx="269">
                  <c:v>61.106018942864999</c:v>
                </c:pt>
                <c:pt idx="270">
                  <c:v>174.96282040066399</c:v>
                </c:pt>
                <c:pt idx="271">
                  <c:v>135.631781589079</c:v>
                </c:pt>
                <c:pt idx="272">
                  <c:v>70.009626323619003</c:v>
                </c:pt>
                <c:pt idx="273">
                  <c:v>201.50692132468799</c:v>
                </c:pt>
                <c:pt idx="274">
                  <c:v>214.78981282602001</c:v>
                </c:pt>
                <c:pt idx="275">
                  <c:v>241.38687733157701</c:v>
                </c:pt>
                <c:pt idx="276">
                  <c:v>162.65881215105199</c:v>
                </c:pt>
                <c:pt idx="277">
                  <c:v>154.23937951701001</c:v>
                </c:pt>
                <c:pt idx="278">
                  <c:v>136.68430335097</c:v>
                </c:pt>
                <c:pt idx="279">
                  <c:v>39.701795403414003</c:v>
                </c:pt>
                <c:pt idx="280">
                  <c:v>269.52986921173499</c:v>
                </c:pt>
                <c:pt idx="281">
                  <c:v>248.138957816377</c:v>
                </c:pt>
                <c:pt idx="282">
                  <c:v>315.55555555555497</c:v>
                </c:pt>
                <c:pt idx="283">
                  <c:v>186.816119562316</c:v>
                </c:pt>
                <c:pt idx="284">
                  <c:v>298.88031404737399</c:v>
                </c:pt>
                <c:pt idx="285">
                  <c:v>200.91079560675001</c:v>
                </c:pt>
                <c:pt idx="286">
                  <c:v>80.421767491734002</c:v>
                </c:pt>
                <c:pt idx="287">
                  <c:v>340.57808648890801</c:v>
                </c:pt>
                <c:pt idx="288">
                  <c:v>458.22102425876</c:v>
                </c:pt>
                <c:pt idx="289">
                  <c:v>211.74986484051101</c:v>
                </c:pt>
                <c:pt idx="290">
                  <c:v>303.01659807335699</c:v>
                </c:pt>
                <c:pt idx="291">
                  <c:v>558.78611666363804</c:v>
                </c:pt>
                <c:pt idx="292">
                  <c:v>318.26861871419402</c:v>
                </c:pt>
                <c:pt idx="293">
                  <c:v>118.289353958143</c:v>
                </c:pt>
                <c:pt idx="294">
                  <c:v>383.52661857364598</c:v>
                </c:pt>
                <c:pt idx="295">
                  <c:v>498.85583524027402</c:v>
                </c:pt>
                <c:pt idx="296">
                  <c:v>284.78250884203698</c:v>
                </c:pt>
                <c:pt idx="297">
                  <c:v>419.41282204913102</c:v>
                </c:pt>
                <c:pt idx="298">
                  <c:v>333.47228011671501</c:v>
                </c:pt>
                <c:pt idx="299">
                  <c:v>176.17877509388401</c:v>
                </c:pt>
                <c:pt idx="300">
                  <c:v>116.003897730963</c:v>
                </c:pt>
                <c:pt idx="301">
                  <c:v>391.37119694357699</c:v>
                </c:pt>
                <c:pt idx="302">
                  <c:v>337.22073907545303</c:v>
                </c:pt>
                <c:pt idx="303">
                  <c:v>379.90713381173401</c:v>
                </c:pt>
                <c:pt idx="304">
                  <c:v>254.53688427999001</c:v>
                </c:pt>
                <c:pt idx="305">
                  <c:v>289.29147301527001</c:v>
                </c:pt>
                <c:pt idx="306">
                  <c:v>137.819598897443</c:v>
                </c:pt>
                <c:pt idx="307">
                  <c:v>118.96830684305699</c:v>
                </c:pt>
                <c:pt idx="308">
                  <c:v>320.55882493660499</c:v>
                </c:pt>
                <c:pt idx="309">
                  <c:v>317.704823336863</c:v>
                </c:pt>
                <c:pt idx="310">
                  <c:v>227.60290556900699</c:v>
                </c:pt>
                <c:pt idx="311">
                  <c:v>253.30020945978799</c:v>
                </c:pt>
                <c:pt idx="312">
                  <c:v>201.325804075619</c:v>
                </c:pt>
                <c:pt idx="313">
                  <c:v>172.12550408183299</c:v>
                </c:pt>
                <c:pt idx="314">
                  <c:v>88.643750615580998</c:v>
                </c:pt>
                <c:pt idx="315">
                  <c:v>217.531022890196</c:v>
                </c:pt>
                <c:pt idx="316">
                  <c:v>263.314785373608</c:v>
                </c:pt>
                <c:pt idx="317">
                  <c:v>174.755342520471</c:v>
                </c:pt>
                <c:pt idx="318">
                  <c:v>155.669378326805</c:v>
                </c:pt>
                <c:pt idx="319">
                  <c:v>166.607764931589</c:v>
                </c:pt>
                <c:pt idx="320">
                  <c:v>106.221547799696</c:v>
                </c:pt>
                <c:pt idx="321">
                  <c:v>55.727240488372999</c:v>
                </c:pt>
                <c:pt idx="322">
                  <c:v>157.92959396810801</c:v>
                </c:pt>
                <c:pt idx="323">
                  <c:v>128.02785886208801</c:v>
                </c:pt>
                <c:pt idx="324">
                  <c:v>133.518204693678</c:v>
                </c:pt>
                <c:pt idx="325">
                  <c:v>129.11889267637599</c:v>
                </c:pt>
                <c:pt idx="326">
                  <c:v>46.848159908385</c:v>
                </c:pt>
                <c:pt idx="327">
                  <c:v>52.189342936171997</c:v>
                </c:pt>
                <c:pt idx="328">
                  <c:v>15.683814303638</c:v>
                </c:pt>
                <c:pt idx="329">
                  <c:v>131.39223209123799</c:v>
                </c:pt>
                <c:pt idx="330">
                  <c:v>184.94055482166399</c:v>
                </c:pt>
                <c:pt idx="331">
                  <c:v>154.22250584981899</c:v>
                </c:pt>
                <c:pt idx="332">
                  <c:v>107.100781835707</c:v>
                </c:pt>
                <c:pt idx="333">
                  <c:v>107.962213225371</c:v>
                </c:pt>
                <c:pt idx="334">
                  <c:v>16.255757247358002</c:v>
                </c:pt>
                <c:pt idx="335">
                  <c:v>48.883819455759998</c:v>
                </c:pt>
                <c:pt idx="336">
                  <c:v>125.77928469867599</c:v>
                </c:pt>
                <c:pt idx="337">
                  <c:v>121.13203391696899</c:v>
                </c:pt>
                <c:pt idx="338">
                  <c:v>105.356548741266</c:v>
                </c:pt>
                <c:pt idx="339">
                  <c:v>116.913484021823</c:v>
                </c:pt>
                <c:pt idx="340">
                  <c:v>83.672672505158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666-4AA4-849E-83600EF90E5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C$2:$C$342</c:f>
              <c:numCache>
                <c:formatCode>General</c:formatCode>
                <c:ptCount val="3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.9432002565019999</c:v>
                </c:pt>
                <c:pt idx="10">
                  <c:v>0.97160956841099999</c:v>
                </c:pt>
                <c:pt idx="11">
                  <c:v>3.886438273644</c:v>
                </c:pt>
                <c:pt idx="12">
                  <c:v>0</c:v>
                </c:pt>
                <c:pt idx="13">
                  <c:v>0</c:v>
                </c:pt>
                <c:pt idx="14">
                  <c:v>0.97162844928000003</c:v>
                </c:pt>
                <c:pt idx="15">
                  <c:v>0</c:v>
                </c:pt>
                <c:pt idx="16">
                  <c:v>0.97163788999099998</c:v>
                </c:pt>
                <c:pt idx="17">
                  <c:v>3.8865515599639999</c:v>
                </c:pt>
                <c:pt idx="18">
                  <c:v>3.8865893235389999</c:v>
                </c:pt>
                <c:pt idx="19">
                  <c:v>0</c:v>
                </c:pt>
                <c:pt idx="20">
                  <c:v>0</c:v>
                </c:pt>
                <c:pt idx="21">
                  <c:v>4.8583310661120001</c:v>
                </c:pt>
                <c:pt idx="22">
                  <c:v>4.8583310661120001</c:v>
                </c:pt>
                <c:pt idx="23">
                  <c:v>9.7167565466639996</c:v>
                </c:pt>
                <c:pt idx="24">
                  <c:v>3.8867026186650002</c:v>
                </c:pt>
                <c:pt idx="25">
                  <c:v>9.7168509629390005</c:v>
                </c:pt>
                <c:pt idx="26">
                  <c:v>3.886740385175</c:v>
                </c:pt>
                <c:pt idx="27">
                  <c:v>6.8018617667349996</c:v>
                </c:pt>
                <c:pt idx="28">
                  <c:v>13.602798289933</c:v>
                </c:pt>
                <c:pt idx="29">
                  <c:v>5.8293175812209999</c:v>
                </c:pt>
                <c:pt idx="30">
                  <c:v>7.7718948851210001</c:v>
                </c:pt>
                <c:pt idx="31">
                  <c:v>6.7998795449899996</c:v>
                </c:pt>
                <c:pt idx="32">
                  <c:v>12.627366417033</c:v>
                </c:pt>
                <c:pt idx="33">
                  <c:v>0.97126040462700003</c:v>
                </c:pt>
                <c:pt idx="34">
                  <c:v>2.9135548282450001</c:v>
                </c:pt>
                <c:pt idx="35">
                  <c:v>6.797832462563</c:v>
                </c:pt>
                <c:pt idx="36">
                  <c:v>10.681478316599</c:v>
                </c:pt>
                <c:pt idx="37">
                  <c:v>0.97096805514999995</c:v>
                </c:pt>
                <c:pt idx="38">
                  <c:v>6.7962484708439996</c:v>
                </c:pt>
                <c:pt idx="39">
                  <c:v>8.7373551055269996</c:v>
                </c:pt>
                <c:pt idx="40">
                  <c:v>4.8537092045739998</c:v>
                </c:pt>
                <c:pt idx="41">
                  <c:v>2.9119993787729999</c:v>
                </c:pt>
                <c:pt idx="42">
                  <c:v>9.7059108997370007</c:v>
                </c:pt>
                <c:pt idx="43">
                  <c:v>4.8526257557959998</c:v>
                </c:pt>
                <c:pt idx="44">
                  <c:v>4.8522490174190001</c:v>
                </c:pt>
                <c:pt idx="45">
                  <c:v>3.8814978700279998</c:v>
                </c:pt>
                <c:pt idx="46">
                  <c:v>6.7920940025799998</c:v>
                </c:pt>
                <c:pt idx="47">
                  <c:v>0.97022383063700002</c:v>
                </c:pt>
                <c:pt idx="48">
                  <c:v>1.9402970594790001</c:v>
                </c:pt>
                <c:pt idx="49">
                  <c:v>6.790512683707</c:v>
                </c:pt>
                <c:pt idx="50">
                  <c:v>4.8499898150209999</c:v>
                </c:pt>
                <c:pt idx="51">
                  <c:v>7.7594568380210003</c:v>
                </c:pt>
                <c:pt idx="52">
                  <c:v>4.8492842456450003</c:v>
                </c:pt>
                <c:pt idx="53">
                  <c:v>4.8489080259120003</c:v>
                </c:pt>
                <c:pt idx="54">
                  <c:v>3.8788254916409999</c:v>
                </c:pt>
                <c:pt idx="55">
                  <c:v>3.8785246092380001</c:v>
                </c:pt>
                <c:pt idx="56">
                  <c:v>5.8173356602670001</c:v>
                </c:pt>
                <c:pt idx="57">
                  <c:v>0.96948074611199997</c:v>
                </c:pt>
                <c:pt idx="58">
                  <c:v>3.8776222420409998</c:v>
                </c:pt>
                <c:pt idx="59">
                  <c:v>1.938566817551</c:v>
                </c:pt>
                <c:pt idx="60">
                  <c:v>1.938322575643</c:v>
                </c:pt>
                <c:pt idx="61">
                  <c:v>3.8761192294270002</c:v>
                </c:pt>
                <c:pt idx="62">
                  <c:v>0.96890775029300003</c:v>
                </c:pt>
                <c:pt idx="63">
                  <c:v>1.9375714479470001</c:v>
                </c:pt>
                <c:pt idx="64">
                  <c:v>6.7805804176829998</c:v>
                </c:pt>
                <c:pt idx="65">
                  <c:v>1.93706476576</c:v>
                </c:pt>
                <c:pt idx="66">
                  <c:v>2.9052032189650001</c:v>
                </c:pt>
                <c:pt idx="67">
                  <c:v>1.936558348503</c:v>
                </c:pt>
                <c:pt idx="68">
                  <c:v>2.9044719185969998</c:v>
                </c:pt>
                <c:pt idx="69">
                  <c:v>0.96802609798299999</c:v>
                </c:pt>
                <c:pt idx="70">
                  <c:v>5.8074257617400002</c:v>
                </c:pt>
                <c:pt idx="71">
                  <c:v>1.9355463079449999</c:v>
                </c:pt>
                <c:pt idx="72">
                  <c:v>3.8706056530190001</c:v>
                </c:pt>
                <c:pt idx="73">
                  <c:v>2.902589109485</c:v>
                </c:pt>
                <c:pt idx="74">
                  <c:v>1.934797329979</c:v>
                </c:pt>
                <c:pt idx="75">
                  <c:v>1.9345540369300001</c:v>
                </c:pt>
                <c:pt idx="76">
                  <c:v>0.96715540252999999</c:v>
                </c:pt>
                <c:pt idx="77">
                  <c:v>1.934048931437</c:v>
                </c:pt>
                <c:pt idx="78">
                  <c:v>4.8345145663920004</c:v>
                </c:pt>
                <c:pt idx="79">
                  <c:v>5.800632268917</c:v>
                </c:pt>
                <c:pt idx="80">
                  <c:v>0.96665055582399995</c:v>
                </c:pt>
                <c:pt idx="81">
                  <c:v>1.9330581947159999</c:v>
                </c:pt>
                <c:pt idx="82">
                  <c:v>0.96639833006300002</c:v>
                </c:pt>
                <c:pt idx="83">
                  <c:v>0.96627693496900002</c:v>
                </c:pt>
                <c:pt idx="84">
                  <c:v>1.9322924717879999</c:v>
                </c:pt>
                <c:pt idx="85">
                  <c:v>0.96602490412200004</c:v>
                </c:pt>
                <c:pt idx="86">
                  <c:v>0</c:v>
                </c:pt>
                <c:pt idx="87">
                  <c:v>1.9315460094250001</c:v>
                </c:pt>
                <c:pt idx="88">
                  <c:v>3.8626070666390002</c:v>
                </c:pt>
                <c:pt idx="89">
                  <c:v>1.931154347511</c:v>
                </c:pt>
                <c:pt idx="90">
                  <c:v>0.96562379297000001</c:v>
                </c:pt>
                <c:pt idx="91">
                  <c:v>2.897039225911</c:v>
                </c:pt>
                <c:pt idx="92">
                  <c:v>5.79435822654</c:v>
                </c:pt>
                <c:pt idx="93">
                  <c:v>3.863129327912</c:v>
                </c:pt>
                <c:pt idx="94">
                  <c:v>1.9316579420110001</c:v>
                </c:pt>
                <c:pt idx="95">
                  <c:v>1.93176988757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.96608089961400001</c:v>
                </c:pt>
                <c:pt idx="100">
                  <c:v>1.9322738031969999</c:v>
                </c:pt>
                <c:pt idx="101">
                  <c:v>1.9323671497579999</c:v>
                </c:pt>
                <c:pt idx="102">
                  <c:v>0.96623958876799998</c:v>
                </c:pt>
                <c:pt idx="103">
                  <c:v>0.96628627197000005</c:v>
                </c:pt>
                <c:pt idx="104">
                  <c:v>0</c:v>
                </c:pt>
                <c:pt idx="105">
                  <c:v>2.8991669726890001</c:v>
                </c:pt>
                <c:pt idx="106">
                  <c:v>0.96644502860600001</c:v>
                </c:pt>
                <c:pt idx="107">
                  <c:v>0.96649173166299995</c:v>
                </c:pt>
                <c:pt idx="108">
                  <c:v>1.9330955625790001</c:v>
                </c:pt>
                <c:pt idx="109">
                  <c:v>0.96659449427699995</c:v>
                </c:pt>
                <c:pt idx="110">
                  <c:v>0</c:v>
                </c:pt>
                <c:pt idx="111">
                  <c:v>0</c:v>
                </c:pt>
                <c:pt idx="112">
                  <c:v>0.96674400618699996</c:v>
                </c:pt>
                <c:pt idx="113">
                  <c:v>1.9336001701559999</c:v>
                </c:pt>
                <c:pt idx="114">
                  <c:v>0</c:v>
                </c:pt>
                <c:pt idx="115">
                  <c:v>0</c:v>
                </c:pt>
                <c:pt idx="116">
                  <c:v>0.96694966059999998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.9671460487240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.96722088423300001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.96729573132299995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96737994814799999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96751098124900003</c:v>
                </c:pt>
                <c:pt idx="148">
                  <c:v>0</c:v>
                </c:pt>
                <c:pt idx="150">
                  <c:v>0</c:v>
                </c:pt>
                <c:pt idx="151">
                  <c:v>0.96728637480400004</c:v>
                </c:pt>
                <c:pt idx="153">
                  <c:v>0</c:v>
                </c:pt>
                <c:pt idx="154">
                  <c:v>1.9337871287120001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1">
                  <c:v>0.96596891512000005</c:v>
                </c:pt>
                <c:pt idx="162">
                  <c:v>0.96583829935099996</c:v>
                </c:pt>
                <c:pt idx="163">
                  <c:v>1.931415437803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2.8951380980870001</c:v>
                </c:pt>
                <c:pt idx="169">
                  <c:v>0</c:v>
                </c:pt>
                <c:pt idx="170">
                  <c:v>0.96478533526200005</c:v>
                </c:pt>
                <c:pt idx="171">
                  <c:v>0</c:v>
                </c:pt>
                <c:pt idx="172">
                  <c:v>1.929049557283</c:v>
                </c:pt>
                <c:pt idx="173">
                  <c:v>0.96438525261999997</c:v>
                </c:pt>
                <c:pt idx="174">
                  <c:v>0</c:v>
                </c:pt>
                <c:pt idx="175">
                  <c:v>1.9282498240470001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.96360465228299996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.96360465228299996</c:v>
                </c:pt>
                <c:pt idx="184">
                  <c:v>0</c:v>
                </c:pt>
                <c:pt idx="185">
                  <c:v>0.963697514624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.96392974879899995</c:v>
                </c:pt>
                <c:pt idx="191">
                  <c:v>0.96397620906699999</c:v>
                </c:pt>
                <c:pt idx="192">
                  <c:v>0.964022673813</c:v>
                </c:pt>
                <c:pt idx="193">
                  <c:v>0</c:v>
                </c:pt>
                <c:pt idx="194">
                  <c:v>0.96411561674400004</c:v>
                </c:pt>
                <c:pt idx="195">
                  <c:v>0.96416209493100002</c:v>
                </c:pt>
                <c:pt idx="196">
                  <c:v>0.96419928070700001</c:v>
                </c:pt>
                <c:pt idx="197">
                  <c:v>0.96424576696099995</c:v>
                </c:pt>
                <c:pt idx="198">
                  <c:v>0</c:v>
                </c:pt>
                <c:pt idx="199">
                  <c:v>0.964338752917</c:v>
                </c:pt>
                <c:pt idx="200">
                  <c:v>0</c:v>
                </c:pt>
                <c:pt idx="201">
                  <c:v>0</c:v>
                </c:pt>
                <c:pt idx="202">
                  <c:v>0.964478265482</c:v>
                </c:pt>
                <c:pt idx="203">
                  <c:v>1.929049557283</c:v>
                </c:pt>
                <c:pt idx="204">
                  <c:v>1.929142592574</c:v>
                </c:pt>
                <c:pt idx="205">
                  <c:v>0</c:v>
                </c:pt>
                <c:pt idx="206">
                  <c:v>0.96466434504099996</c:v>
                </c:pt>
                <c:pt idx="207">
                  <c:v>0.96471087614999995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1.9297754706229999</c:v>
                </c:pt>
                <c:pt idx="212">
                  <c:v>0.964776027245</c:v>
                </c:pt>
                <c:pt idx="213">
                  <c:v>1.9293286900819999</c:v>
                </c:pt>
                <c:pt idx="214">
                  <c:v>3.8582107547620001</c:v>
                </c:pt>
                <c:pt idx="215">
                  <c:v>0</c:v>
                </c:pt>
                <c:pt idx="216">
                  <c:v>0.96432015429100004</c:v>
                </c:pt>
                <c:pt idx="217">
                  <c:v>0.96420857759900003</c:v>
                </c:pt>
                <c:pt idx="218">
                  <c:v>2.8922910801740001</c:v>
                </c:pt>
                <c:pt idx="219">
                  <c:v>0.96397620906699999</c:v>
                </c:pt>
                <c:pt idx="220">
                  <c:v>1.9277294238980001</c:v>
                </c:pt>
                <c:pt idx="221">
                  <c:v>0</c:v>
                </c:pt>
                <c:pt idx="222">
                  <c:v>0.96364179507100001</c:v>
                </c:pt>
                <c:pt idx="223">
                  <c:v>0.96352109147599996</c:v>
                </c:pt>
                <c:pt idx="224">
                  <c:v>0.96340969960800005</c:v>
                </c:pt>
                <c:pt idx="225">
                  <c:v>1.9265966669870001</c:v>
                </c:pt>
                <c:pt idx="226">
                  <c:v>0.96319627050400003</c:v>
                </c:pt>
                <c:pt idx="227">
                  <c:v>5.7783984205710004</c:v>
                </c:pt>
                <c:pt idx="228">
                  <c:v>0.96296438957599995</c:v>
                </c:pt>
                <c:pt idx="229">
                  <c:v>0.96284385561100005</c:v>
                </c:pt>
                <c:pt idx="230">
                  <c:v>1.9254652405379999</c:v>
                </c:pt>
                <c:pt idx="231">
                  <c:v>3.8530448687069998</c:v>
                </c:pt>
                <c:pt idx="232">
                  <c:v>1.928138286077</c:v>
                </c:pt>
                <c:pt idx="233">
                  <c:v>1.9295148234970001</c:v>
                </c:pt>
                <c:pt idx="234">
                  <c:v>1.9323111407389999</c:v>
                </c:pt>
                <c:pt idx="235">
                  <c:v>3.86895837968</c:v>
                </c:pt>
                <c:pt idx="236">
                  <c:v>2.901887193971</c:v>
                </c:pt>
                <c:pt idx="237">
                  <c:v>2.9022802248290001</c:v>
                </c:pt>
                <c:pt idx="238">
                  <c:v>2.9072584552760001</c:v>
                </c:pt>
                <c:pt idx="239">
                  <c:v>4.8454777156470001</c:v>
                </c:pt>
                <c:pt idx="240">
                  <c:v>3.886476035017</c:v>
                </c:pt>
                <c:pt idx="241">
                  <c:v>7.7950676709310001</c:v>
                </c:pt>
                <c:pt idx="242">
                  <c:v>1.9591133053180001</c:v>
                </c:pt>
                <c:pt idx="243">
                  <c:v>1.9594204034439999</c:v>
                </c:pt>
                <c:pt idx="244">
                  <c:v>5.8793556226229997</c:v>
                </c:pt>
                <c:pt idx="245">
                  <c:v>5.9019102516180002</c:v>
                </c:pt>
                <c:pt idx="246">
                  <c:v>4.9386618201930004</c:v>
                </c:pt>
                <c:pt idx="247">
                  <c:v>3.9718396568330001</c:v>
                </c:pt>
                <c:pt idx="248">
                  <c:v>4.9892730629140001</c:v>
                </c:pt>
                <c:pt idx="249">
                  <c:v>6.047228857376</c:v>
                </c:pt>
                <c:pt idx="250">
                  <c:v>2.0175730613640002</c:v>
                </c:pt>
                <c:pt idx="251">
                  <c:v>2.0185301063760002</c:v>
                </c:pt>
                <c:pt idx="252">
                  <c:v>10.140856496739</c:v>
                </c:pt>
                <c:pt idx="253">
                  <c:v>12.233164107896</c:v>
                </c:pt>
                <c:pt idx="254">
                  <c:v>15.378148675941</c:v>
                </c:pt>
                <c:pt idx="255">
                  <c:v>10.324392409506</c:v>
                </c:pt>
                <c:pt idx="256">
                  <c:v>9.3789078782819999</c:v>
                </c:pt>
                <c:pt idx="257">
                  <c:v>6.2599768380849996</c:v>
                </c:pt>
                <c:pt idx="258">
                  <c:v>3.1318836192039998</c:v>
                </c:pt>
                <c:pt idx="259">
                  <c:v>15.747039556562999</c:v>
                </c:pt>
                <c:pt idx="260">
                  <c:v>11.620291141112</c:v>
                </c:pt>
                <c:pt idx="261">
                  <c:v>12.775335086393</c:v>
                </c:pt>
                <c:pt idx="262">
                  <c:v>29.019776440240001</c:v>
                </c:pt>
                <c:pt idx="263">
                  <c:v>17.417620099933</c:v>
                </c:pt>
                <c:pt idx="264">
                  <c:v>25.082882568487001</c:v>
                </c:pt>
                <c:pt idx="265">
                  <c:v>5.4585748752710002</c:v>
                </c:pt>
                <c:pt idx="266">
                  <c:v>42.919399568605002</c:v>
                </c:pt>
                <c:pt idx="267">
                  <c:v>43.316006930561002</c:v>
                </c:pt>
                <c:pt idx="268">
                  <c:v>43.879387938793002</c:v>
                </c:pt>
                <c:pt idx="269">
                  <c:v>20.285575828609002</c:v>
                </c:pt>
                <c:pt idx="270">
                  <c:v>45.512988269026998</c:v>
                </c:pt>
                <c:pt idx="271">
                  <c:v>31.906650257532</c:v>
                </c:pt>
                <c:pt idx="272">
                  <c:v>22.821931876533</c:v>
                </c:pt>
                <c:pt idx="273">
                  <c:v>66.700400202400999</c:v>
                </c:pt>
                <c:pt idx="274">
                  <c:v>61.499901368082</c:v>
                </c:pt>
                <c:pt idx="275">
                  <c:v>70.356472795496998</c:v>
                </c:pt>
                <c:pt idx="276">
                  <c:v>73.733157325150998</c:v>
                </c:pt>
                <c:pt idx="277">
                  <c:v>85.972028818791998</c:v>
                </c:pt>
                <c:pt idx="278">
                  <c:v>60.686976574827</c:v>
                </c:pt>
                <c:pt idx="279">
                  <c:v>20.661408135733002</c:v>
                </c:pt>
                <c:pt idx="280">
                  <c:v>78.476573516607999</c:v>
                </c:pt>
                <c:pt idx="281">
                  <c:v>99.003774518903001</c:v>
                </c:pt>
                <c:pt idx="282">
                  <c:v>110.070169733204</c:v>
                </c:pt>
                <c:pt idx="283">
                  <c:v>61.961002503730001</c:v>
                </c:pt>
                <c:pt idx="284">
                  <c:v>102.981308892436</c:v>
                </c:pt>
                <c:pt idx="285">
                  <c:v>64.482847562548002</c:v>
                </c:pt>
                <c:pt idx="286">
                  <c:v>43.912330324046998</c:v>
                </c:pt>
                <c:pt idx="287">
                  <c:v>88.562423484670006</c:v>
                </c:pt>
                <c:pt idx="288">
                  <c:v>145.057495516404</c:v>
                </c:pt>
                <c:pt idx="289">
                  <c:v>87.217369471276996</c:v>
                </c:pt>
                <c:pt idx="290">
                  <c:v>124.168869662741</c:v>
                </c:pt>
                <c:pt idx="291">
                  <c:v>134.27005913307599</c:v>
                </c:pt>
                <c:pt idx="292">
                  <c:v>108.77693928887</c:v>
                </c:pt>
                <c:pt idx="293">
                  <c:v>68.063326118619997</c:v>
                </c:pt>
                <c:pt idx="294">
                  <c:v>126.31289901832901</c:v>
                </c:pt>
                <c:pt idx="295">
                  <c:v>185.894234504189</c:v>
                </c:pt>
                <c:pt idx="296">
                  <c:v>96.679277007145004</c:v>
                </c:pt>
                <c:pt idx="297">
                  <c:v>141.70327334561401</c:v>
                </c:pt>
                <c:pt idx="298">
                  <c:v>148.792326360799</c:v>
                </c:pt>
                <c:pt idx="299">
                  <c:v>88.373777616805</c:v>
                </c:pt>
                <c:pt idx="300">
                  <c:v>66.818703426637001</c:v>
                </c:pt>
                <c:pt idx="301">
                  <c:v>143.68869404571601</c:v>
                </c:pt>
                <c:pt idx="302">
                  <c:v>111.22150875684</c:v>
                </c:pt>
                <c:pt idx="303">
                  <c:v>113.90545846947001</c:v>
                </c:pt>
                <c:pt idx="304">
                  <c:v>112.37320051023499</c:v>
                </c:pt>
                <c:pt idx="305">
                  <c:v>107.39299610894901</c:v>
                </c:pt>
                <c:pt idx="306">
                  <c:v>73.393922358598999</c:v>
                </c:pt>
                <c:pt idx="307">
                  <c:v>42.263442122562999</c:v>
                </c:pt>
                <c:pt idx="308">
                  <c:v>132.87565053703901</c:v>
                </c:pt>
                <c:pt idx="309">
                  <c:v>113.72737465961799</c:v>
                </c:pt>
                <c:pt idx="310">
                  <c:v>92.609140684657007</c:v>
                </c:pt>
                <c:pt idx="311">
                  <c:v>95.463822503127005</c:v>
                </c:pt>
                <c:pt idx="312">
                  <c:v>90.855556490283007</c:v>
                </c:pt>
                <c:pt idx="313">
                  <c:v>55.780933062880003</c:v>
                </c:pt>
                <c:pt idx="314">
                  <c:v>59.339131614193001</c:v>
                </c:pt>
                <c:pt idx="315">
                  <c:v>68.508400842653003</c:v>
                </c:pt>
                <c:pt idx="316">
                  <c:v>90.016791593815995</c:v>
                </c:pt>
                <c:pt idx="317">
                  <c:v>62.982207526373003</c:v>
                </c:pt>
                <c:pt idx="318">
                  <c:v>46.096021558754003</c:v>
                </c:pt>
                <c:pt idx="319">
                  <c:v>57.697162020843002</c:v>
                </c:pt>
                <c:pt idx="320">
                  <c:v>39.790197142339998</c:v>
                </c:pt>
                <c:pt idx="321">
                  <c:v>27.190660914331001</c:v>
                </c:pt>
                <c:pt idx="322">
                  <c:v>85.995535550919996</c:v>
                </c:pt>
                <c:pt idx="323">
                  <c:v>75.693239301405995</c:v>
                </c:pt>
                <c:pt idx="324">
                  <c:v>35.348179568752002</c:v>
                </c:pt>
                <c:pt idx="325">
                  <c:v>44.761922524572</c:v>
                </c:pt>
                <c:pt idx="326">
                  <c:v>20.520091034585001</c:v>
                </c:pt>
                <c:pt idx="327">
                  <c:v>13.060676169862999</c:v>
                </c:pt>
                <c:pt idx="328">
                  <c:v>22.397252603679998</c:v>
                </c:pt>
                <c:pt idx="329">
                  <c:v>60.175260446049002</c:v>
                </c:pt>
                <c:pt idx="330">
                  <c:v>85.330703883495005</c:v>
                </c:pt>
                <c:pt idx="331">
                  <c:v>26.809138086210002</c:v>
                </c:pt>
                <c:pt idx="332">
                  <c:v>52.122545896797</c:v>
                </c:pt>
                <c:pt idx="333">
                  <c:v>44.477103960396001</c:v>
                </c:pt>
                <c:pt idx="334">
                  <c:v>11.611255176684001</c:v>
                </c:pt>
                <c:pt idx="335">
                  <c:v>29.084422383370999</c:v>
                </c:pt>
                <c:pt idx="336">
                  <c:v>80.242685194245993</c:v>
                </c:pt>
                <c:pt idx="337">
                  <c:v>65.336184366832001</c:v>
                </c:pt>
                <c:pt idx="338">
                  <c:v>42.058882435408997</c:v>
                </c:pt>
                <c:pt idx="339">
                  <c:v>36.569013855592999</c:v>
                </c:pt>
                <c:pt idx="340">
                  <c:v>37.387836490528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666-4AA4-849E-83600EF90E58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D$2:$D$342</c:f>
              <c:numCache>
                <c:formatCode>General</c:formatCode>
                <c:ptCount val="341"/>
                <c:pt idx="226">
                  <c:v>0</c:v>
                </c:pt>
                <c:pt idx="228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16.874789065136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10.684902233143999</c:v>
                </c:pt>
                <c:pt idx="261">
                  <c:v>9.9108027750240009</c:v>
                </c:pt>
                <c:pt idx="262">
                  <c:v>0</c:v>
                </c:pt>
                <c:pt idx="263">
                  <c:v>0</c:v>
                </c:pt>
                <c:pt idx="264">
                  <c:v>8.113590263691</c:v>
                </c:pt>
                <c:pt idx="265">
                  <c:v>0</c:v>
                </c:pt>
                <c:pt idx="266">
                  <c:v>15.204500532157001</c:v>
                </c:pt>
                <c:pt idx="267">
                  <c:v>0</c:v>
                </c:pt>
                <c:pt idx="268">
                  <c:v>6.6041474045699999</c:v>
                </c:pt>
                <c:pt idx="269">
                  <c:v>19.621950421870999</c:v>
                </c:pt>
                <c:pt idx="270">
                  <c:v>12.395413696932</c:v>
                </c:pt>
                <c:pt idx="271">
                  <c:v>24.591171769334</c:v>
                </c:pt>
                <c:pt idx="272">
                  <c:v>6.1020258725890004</c:v>
                </c:pt>
                <c:pt idx="273">
                  <c:v>41.017227235438</c:v>
                </c:pt>
                <c:pt idx="274">
                  <c:v>11.2095056608</c:v>
                </c:pt>
                <c:pt idx="275">
                  <c:v>10.672358591248001</c:v>
                </c:pt>
                <c:pt idx="276">
                  <c:v>15.051173991571</c:v>
                </c:pt>
                <c:pt idx="277">
                  <c:v>27.994214528996999</c:v>
                </c:pt>
                <c:pt idx="278">
                  <c:v>9.2476996347149996</c:v>
                </c:pt>
                <c:pt idx="279">
                  <c:v>9.2009016883650006</c:v>
                </c:pt>
                <c:pt idx="280">
                  <c:v>40.067669842400001</c:v>
                </c:pt>
                <c:pt idx="281">
                  <c:v>47.395406954198002</c:v>
                </c:pt>
                <c:pt idx="282">
                  <c:v>37.400265957446003</c:v>
                </c:pt>
                <c:pt idx="283">
                  <c:v>20.056157240272</c:v>
                </c:pt>
                <c:pt idx="284">
                  <c:v>53.177346450412003</c:v>
                </c:pt>
                <c:pt idx="285">
                  <c:v>7.5557234605210004</c:v>
                </c:pt>
                <c:pt idx="286">
                  <c:v>7.5238883454960002</c:v>
                </c:pt>
                <c:pt idx="287">
                  <c:v>58.767354734445</c:v>
                </c:pt>
                <c:pt idx="288">
                  <c:v>60.335036910846</c:v>
                </c:pt>
                <c:pt idx="289">
                  <c:v>28.234629773417002</c:v>
                </c:pt>
                <c:pt idx="290">
                  <c:v>24.048371581695001</c:v>
                </c:pt>
                <c:pt idx="291">
                  <c:v>46.245829617150001</c:v>
                </c:pt>
                <c:pt idx="292">
                  <c:v>13.132407498604</c:v>
                </c:pt>
                <c:pt idx="293">
                  <c:v>26.193438543644</c:v>
                </c:pt>
                <c:pt idx="294">
                  <c:v>51.336349343857002</c:v>
                </c:pt>
                <c:pt idx="295">
                  <c:v>50.130024751698997</c:v>
                </c:pt>
                <c:pt idx="296">
                  <c:v>30.646644192459998</c:v>
                </c:pt>
                <c:pt idx="297">
                  <c:v>68.802536719613997</c:v>
                </c:pt>
                <c:pt idx="298">
                  <c:v>37.384252602518998</c:v>
                </c:pt>
                <c:pt idx="299">
                  <c:v>25.734873613175999</c:v>
                </c:pt>
                <c:pt idx="300">
                  <c:v>19.912951952891</c:v>
                </c:pt>
                <c:pt idx="301">
                  <c:v>50.290567724631003</c:v>
                </c:pt>
                <c:pt idx="302">
                  <c:v>43.762479144442999</c:v>
                </c:pt>
                <c:pt idx="303">
                  <c:v>48.306585797863001</c:v>
                </c:pt>
                <c:pt idx="304">
                  <c:v>44.593672944756001</c:v>
                </c:pt>
                <c:pt idx="305">
                  <c:v>40.288059626328</c:v>
                </c:pt>
                <c:pt idx="306">
                  <c:v>25.052610482012</c:v>
                </c:pt>
                <c:pt idx="307">
                  <c:v>32.452133103671997</c:v>
                </c:pt>
                <c:pt idx="308">
                  <c:v>39.295625905641003</c:v>
                </c:pt>
                <c:pt idx="309">
                  <c:v>38.559791777123998</c:v>
                </c:pt>
                <c:pt idx="310">
                  <c:v>37.766133220034</c:v>
                </c:pt>
                <c:pt idx="311">
                  <c:v>39.398363809126003</c:v>
                </c:pt>
                <c:pt idx="312">
                  <c:v>38.236617183984997</c:v>
                </c:pt>
                <c:pt idx="313">
                  <c:v>13.415315818892999</c:v>
                </c:pt>
                <c:pt idx="314">
                  <c:v>11.137841931746999</c:v>
                </c:pt>
                <c:pt idx="315">
                  <c:v>41.778442323759997</c:v>
                </c:pt>
                <c:pt idx="316">
                  <c:v>43.395243881269998</c:v>
                </c:pt>
                <c:pt idx="317">
                  <c:v>32.129546330804999</c:v>
                </c:pt>
                <c:pt idx="318">
                  <c:v>18.974531961543999</c:v>
                </c:pt>
                <c:pt idx="319">
                  <c:v>33.082458026631002</c:v>
                </c:pt>
                <c:pt idx="320">
                  <c:v>10.303754688208</c:v>
                </c:pt>
                <c:pt idx="321">
                  <c:v>14.391447368421</c:v>
                </c:pt>
                <c:pt idx="322">
                  <c:v>24.419030564486</c:v>
                </c:pt>
                <c:pt idx="323">
                  <c:v>34.260378879484001</c:v>
                </c:pt>
                <c:pt idx="324">
                  <c:v>11.994002998499999</c:v>
                </c:pt>
                <c:pt idx="325">
                  <c:v>21.934634788330001</c:v>
                </c:pt>
                <c:pt idx="326">
                  <c:v>3.9879563717569999</c:v>
                </c:pt>
                <c:pt idx="327">
                  <c:v>1.9939781858779999</c:v>
                </c:pt>
                <c:pt idx="328">
                  <c:v>5.9809804820670003</c:v>
                </c:pt>
                <c:pt idx="329">
                  <c:v>35.609013036855004</c:v>
                </c:pt>
                <c:pt idx="330">
                  <c:v>21.576665816676002</c:v>
                </c:pt>
                <c:pt idx="331">
                  <c:v>25.249582410752001</c:v>
                </c:pt>
                <c:pt idx="332">
                  <c:v>11.561584707877</c:v>
                </c:pt>
                <c:pt idx="333">
                  <c:v>17.31568416192</c:v>
                </c:pt>
                <c:pt idx="334">
                  <c:v>5.7715615921810004</c:v>
                </c:pt>
                <c:pt idx="335">
                  <c:v>23.056969929868</c:v>
                </c:pt>
                <c:pt idx="336">
                  <c:v>64.774242712897006</c:v>
                </c:pt>
                <c:pt idx="337">
                  <c:v>47.132461068586998</c:v>
                </c:pt>
                <c:pt idx="338">
                  <c:v>29.858545142387001</c:v>
                </c:pt>
                <c:pt idx="339">
                  <c:v>38.702543309988002</c:v>
                </c:pt>
                <c:pt idx="340">
                  <c:v>43.3964993490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666-4AA4-849E-83600EF90E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B$2:$B$342</c:f>
              <c:numCache>
                <c:formatCode>General</c:formatCode>
                <c:ptCount val="341"/>
                <c:pt idx="0">
                  <c:v>109.967880668517</c:v>
                </c:pt>
                <c:pt idx="1">
                  <c:v>142.31135535145401</c:v>
                </c:pt>
                <c:pt idx="2">
                  <c:v>146.34522067318801</c:v>
                </c:pt>
                <c:pt idx="3">
                  <c:v>87.203205545681996</c:v>
                </c:pt>
                <c:pt idx="4">
                  <c:v>111.72319196477901</c:v>
                </c:pt>
                <c:pt idx="5">
                  <c:v>50.986477499445002</c:v>
                </c:pt>
                <c:pt idx="6">
                  <c:v>42.207215212367998</c:v>
                </c:pt>
                <c:pt idx="7">
                  <c:v>139.71944335773699</c:v>
                </c:pt>
                <c:pt idx="8">
                  <c:v>165.98915989159801</c:v>
                </c:pt>
                <c:pt idx="9">
                  <c:v>146.558732266965</c:v>
                </c:pt>
                <c:pt idx="10">
                  <c:v>115.14841351074701</c:v>
                </c:pt>
                <c:pt idx="11">
                  <c:v>119.74486045574101</c:v>
                </c:pt>
                <c:pt idx="12">
                  <c:v>60.606060606059998</c:v>
                </c:pt>
                <c:pt idx="13">
                  <c:v>26.208260367152999</c:v>
                </c:pt>
                <c:pt idx="14">
                  <c:v>143.15523851118499</c:v>
                </c:pt>
                <c:pt idx="15">
                  <c:v>145.36328396779601</c:v>
                </c:pt>
                <c:pt idx="16">
                  <c:v>160.482977341332</c:v>
                </c:pt>
                <c:pt idx="17">
                  <c:v>161.791184989953</c:v>
                </c:pt>
                <c:pt idx="18">
                  <c:v>138.262938885122</c:v>
                </c:pt>
                <c:pt idx="19">
                  <c:v>73.272761184087003</c:v>
                </c:pt>
                <c:pt idx="20">
                  <c:v>40.071059345237998</c:v>
                </c:pt>
                <c:pt idx="21">
                  <c:v>158.90046312015301</c:v>
                </c:pt>
                <c:pt idx="22">
                  <c:v>198.382630498574</c:v>
                </c:pt>
                <c:pt idx="23">
                  <c:v>187.17175103363499</c:v>
                </c:pt>
                <c:pt idx="24">
                  <c:v>197.87985865724301</c:v>
                </c:pt>
                <c:pt idx="25">
                  <c:v>190.15212169735699</c:v>
                </c:pt>
                <c:pt idx="26">
                  <c:v>103.069170865781</c:v>
                </c:pt>
                <c:pt idx="27">
                  <c:v>41.530618090163998</c:v>
                </c:pt>
                <c:pt idx="28">
                  <c:v>213.66904397539901</c:v>
                </c:pt>
                <c:pt idx="29">
                  <c:v>226.71123383229099</c:v>
                </c:pt>
                <c:pt idx="30">
                  <c:v>226.346763241285</c:v>
                </c:pt>
                <c:pt idx="31">
                  <c:v>207.06974285168801</c:v>
                </c:pt>
                <c:pt idx="32">
                  <c:v>181.60074412012199</c:v>
                </c:pt>
                <c:pt idx="33">
                  <c:v>90.070136581764004</c:v>
                </c:pt>
                <c:pt idx="34">
                  <c:v>39.865932346035997</c:v>
                </c:pt>
                <c:pt idx="35">
                  <c:v>155.636255836359</c:v>
                </c:pt>
                <c:pt idx="36">
                  <c:v>196.46365422396801</c:v>
                </c:pt>
                <c:pt idx="37">
                  <c:v>176.235139494593</c:v>
                </c:pt>
                <c:pt idx="38">
                  <c:v>148.514851485148</c:v>
                </c:pt>
                <c:pt idx="39">
                  <c:v>183.762614851634</c:v>
                </c:pt>
                <c:pt idx="40">
                  <c:v>87.358607082071003</c:v>
                </c:pt>
                <c:pt idx="41">
                  <c:v>42.176296921130003</c:v>
                </c:pt>
                <c:pt idx="42">
                  <c:v>138.97071041222901</c:v>
                </c:pt>
                <c:pt idx="43">
                  <c:v>178.76621015634399</c:v>
                </c:pt>
                <c:pt idx="44">
                  <c:v>136.815542245599</c:v>
                </c:pt>
                <c:pt idx="45">
                  <c:v>121.927057138067</c:v>
                </c:pt>
                <c:pt idx="46">
                  <c:v>100.962200364075</c:v>
                </c:pt>
                <c:pt idx="47">
                  <c:v>38.236823590589999</c:v>
                </c:pt>
                <c:pt idx="48">
                  <c:v>26.001040041601001</c:v>
                </c:pt>
                <c:pt idx="49">
                  <c:v>124.42396313364</c:v>
                </c:pt>
                <c:pt idx="50">
                  <c:v>106.45519624783999</c:v>
                </c:pt>
                <c:pt idx="51">
                  <c:v>89.897392975602997</c:v>
                </c:pt>
                <c:pt idx="52">
                  <c:v>96.793330627282998</c:v>
                </c:pt>
                <c:pt idx="53">
                  <c:v>88.116817724068</c:v>
                </c:pt>
                <c:pt idx="54">
                  <c:v>28.344224864183001</c:v>
                </c:pt>
                <c:pt idx="55">
                  <c:v>11.033873993158</c:v>
                </c:pt>
                <c:pt idx="56">
                  <c:v>98.638157057401003</c:v>
                </c:pt>
                <c:pt idx="57">
                  <c:v>117.220116898965</c:v>
                </c:pt>
                <c:pt idx="58">
                  <c:v>90.938616433907001</c:v>
                </c:pt>
                <c:pt idx="59">
                  <c:v>50.865534498317999</c:v>
                </c:pt>
                <c:pt idx="60">
                  <c:v>31.611346809749001</c:v>
                </c:pt>
                <c:pt idx="61">
                  <c:v>13.331111481419001</c:v>
                </c:pt>
                <c:pt idx="62">
                  <c:v>26.68935261639</c:v>
                </c:pt>
                <c:pt idx="63">
                  <c:v>15.197825022373999</c:v>
                </c:pt>
                <c:pt idx="64">
                  <c:v>82.108828409653995</c:v>
                </c:pt>
                <c:pt idx="65">
                  <c:v>69.356544656945005</c:v>
                </c:pt>
                <c:pt idx="66">
                  <c:v>73.811113844855996</c:v>
                </c:pt>
                <c:pt idx="67">
                  <c:v>59.008654602675001</c:v>
                </c:pt>
                <c:pt idx="68">
                  <c:v>23.298326104878001</c:v>
                </c:pt>
                <c:pt idx="69">
                  <c:v>7.1752740057760001</c:v>
                </c:pt>
                <c:pt idx="70">
                  <c:v>47.265852239673997</c:v>
                </c:pt>
                <c:pt idx="71">
                  <c:v>55.254724278925003</c:v>
                </c:pt>
                <c:pt idx="72">
                  <c:v>44.867360864444002</c:v>
                </c:pt>
                <c:pt idx="73">
                  <c:v>30.452408595192001</c:v>
                </c:pt>
                <c:pt idx="74">
                  <c:v>36.373382341679999</c:v>
                </c:pt>
                <c:pt idx="75">
                  <c:v>13.450157558988</c:v>
                </c:pt>
                <c:pt idx="76">
                  <c:v>7.7044570283900002</c:v>
                </c:pt>
                <c:pt idx="77">
                  <c:v>44.393831187631001</c:v>
                </c:pt>
                <c:pt idx="78">
                  <c:v>43.208421714194998</c:v>
                </c:pt>
                <c:pt idx="79">
                  <c:v>51.680613806674003</c:v>
                </c:pt>
                <c:pt idx="80">
                  <c:v>20.179191218014999</c:v>
                </c:pt>
                <c:pt idx="81">
                  <c:v>28.759244042728</c:v>
                </c:pt>
                <c:pt idx="82">
                  <c:v>8.2757479207180005</c:v>
                </c:pt>
                <c:pt idx="83">
                  <c:v>4.1505831569330001</c:v>
                </c:pt>
                <c:pt idx="84">
                  <c:v>25.130890052356001</c:v>
                </c:pt>
                <c:pt idx="85">
                  <c:v>33.883947479881002</c:v>
                </c:pt>
                <c:pt idx="86">
                  <c:v>23.567220139260002</c:v>
                </c:pt>
                <c:pt idx="87">
                  <c:v>43.312543312542999</c:v>
                </c:pt>
                <c:pt idx="88">
                  <c:v>35.106966538671998</c:v>
                </c:pt>
                <c:pt idx="89">
                  <c:v>13.192032012664001</c:v>
                </c:pt>
                <c:pt idx="90">
                  <c:v>8.8132904419860001</c:v>
                </c:pt>
                <c:pt idx="91">
                  <c:v>22.173440652785999</c:v>
                </c:pt>
                <c:pt idx="92">
                  <c:v>31.241631705793001</c:v>
                </c:pt>
                <c:pt idx="93">
                  <c:v>24.695238309049</c:v>
                </c:pt>
                <c:pt idx="94">
                  <c:v>29.353323699421001</c:v>
                </c:pt>
                <c:pt idx="95">
                  <c:v>29.531360032711</c:v>
                </c:pt>
                <c:pt idx="96">
                  <c:v>9.1043587117329992</c:v>
                </c:pt>
                <c:pt idx="97">
                  <c:v>4.5592358720670001</c:v>
                </c:pt>
                <c:pt idx="98">
                  <c:v>16.006219559600002</c:v>
                </c:pt>
                <c:pt idx="99">
                  <c:v>29.858287971703</c:v>
                </c:pt>
                <c:pt idx="100">
                  <c:v>11.545744238673</c:v>
                </c:pt>
                <c:pt idx="101">
                  <c:v>23.187868107406</c:v>
                </c:pt>
                <c:pt idx="102">
                  <c:v>18.617206953526001</c:v>
                </c:pt>
                <c:pt idx="103">
                  <c:v>11.643883468014</c:v>
                </c:pt>
                <c:pt idx="104">
                  <c:v>4.6613527245600004</c:v>
                </c:pt>
                <c:pt idx="105">
                  <c:v>9.3433930531870004</c:v>
                </c:pt>
                <c:pt idx="106">
                  <c:v>11.702750146284</c:v>
                </c:pt>
                <c:pt idx="107">
                  <c:v>4.6919720358459998</c:v>
                </c:pt>
                <c:pt idx="108">
                  <c:v>14.111670351380001</c:v>
                </c:pt>
                <c:pt idx="109">
                  <c:v>9.4399735680740005</c:v>
                </c:pt>
                <c:pt idx="110">
                  <c:v>2.361107831794</c:v>
                </c:pt>
                <c:pt idx="111">
                  <c:v>0</c:v>
                </c:pt>
                <c:pt idx="112">
                  <c:v>9.4714908126530002</c:v>
                </c:pt>
                <c:pt idx="113">
                  <c:v>0</c:v>
                </c:pt>
                <c:pt idx="114">
                  <c:v>11.901078237688001</c:v>
                </c:pt>
                <c:pt idx="115">
                  <c:v>0</c:v>
                </c:pt>
                <c:pt idx="116">
                  <c:v>2.396127857382</c:v>
                </c:pt>
                <c:pt idx="117">
                  <c:v>2.4090580582990002</c:v>
                </c:pt>
                <c:pt idx="118">
                  <c:v>0</c:v>
                </c:pt>
                <c:pt idx="119">
                  <c:v>2.4202526743789998</c:v>
                </c:pt>
                <c:pt idx="120">
                  <c:v>2.4384296513039998</c:v>
                </c:pt>
                <c:pt idx="121">
                  <c:v>2.4535662585560001</c:v>
                </c:pt>
                <c:pt idx="122">
                  <c:v>2.4780690885659999</c:v>
                </c:pt>
                <c:pt idx="123">
                  <c:v>4.9948802477459999</c:v>
                </c:pt>
                <c:pt idx="124">
                  <c:v>2.5029409556219999</c:v>
                </c:pt>
                <c:pt idx="125">
                  <c:v>0</c:v>
                </c:pt>
                <c:pt idx="126">
                  <c:v>2.5242326332789999</c:v>
                </c:pt>
                <c:pt idx="127">
                  <c:v>2.5423297910199998</c:v>
                </c:pt>
                <c:pt idx="128">
                  <c:v>5.1211143544829998</c:v>
                </c:pt>
                <c:pt idx="129">
                  <c:v>2.5829781738339999</c:v>
                </c:pt>
                <c:pt idx="131">
                  <c:v>2.617526960527</c:v>
                </c:pt>
                <c:pt idx="132">
                  <c:v>0</c:v>
                </c:pt>
                <c:pt idx="133">
                  <c:v>0</c:v>
                </c:pt>
                <c:pt idx="135">
                  <c:v>2.679097679901</c:v>
                </c:pt>
                <c:pt idx="136">
                  <c:v>5.3982563631940002</c:v>
                </c:pt>
                <c:pt idx="137">
                  <c:v>0</c:v>
                </c:pt>
                <c:pt idx="138">
                  <c:v>2.7332112498969998</c:v>
                </c:pt>
                <c:pt idx="139">
                  <c:v>2.7383006106410002</c:v>
                </c:pt>
                <c:pt idx="141">
                  <c:v>2.7690859247359998</c:v>
                </c:pt>
                <c:pt idx="142">
                  <c:v>5.5707202941340004</c:v>
                </c:pt>
                <c:pt idx="143">
                  <c:v>5.608682240107</c:v>
                </c:pt>
                <c:pt idx="145">
                  <c:v>2.8388122409580001</c:v>
                </c:pt>
                <c:pt idx="146">
                  <c:v>5.6881203606259998</c:v>
                </c:pt>
                <c:pt idx="147">
                  <c:v>0</c:v>
                </c:pt>
                <c:pt idx="148">
                  <c:v>2.8804332171549998</c:v>
                </c:pt>
                <c:pt idx="150">
                  <c:v>0</c:v>
                </c:pt>
                <c:pt idx="151">
                  <c:v>2.9443806495299998</c:v>
                </c:pt>
                <c:pt idx="153">
                  <c:v>0</c:v>
                </c:pt>
                <c:pt idx="154">
                  <c:v>0</c:v>
                </c:pt>
                <c:pt idx="155">
                  <c:v>2.9978715112269998</c:v>
                </c:pt>
                <c:pt idx="156">
                  <c:v>0</c:v>
                </c:pt>
                <c:pt idx="157">
                  <c:v>3.042287800425</c:v>
                </c:pt>
                <c:pt idx="158">
                  <c:v>12.278601467292001</c:v>
                </c:pt>
                <c:pt idx="159">
                  <c:v>0</c:v>
                </c:pt>
                <c:pt idx="161">
                  <c:v>3.104625892579</c:v>
                </c:pt>
                <c:pt idx="162">
                  <c:v>0</c:v>
                </c:pt>
                <c:pt idx="163">
                  <c:v>6.3011972274729997</c:v>
                </c:pt>
                <c:pt idx="164">
                  <c:v>3.1771247021439999</c:v>
                </c:pt>
                <c:pt idx="165">
                  <c:v>9.6113798737699998</c:v>
                </c:pt>
                <c:pt idx="166">
                  <c:v>3.2119226569019999</c:v>
                </c:pt>
                <c:pt idx="167">
                  <c:v>3.2168821977730002</c:v>
                </c:pt>
                <c:pt idx="168">
                  <c:v>6.4443370388270003</c:v>
                </c:pt>
                <c:pt idx="169">
                  <c:v>6.4568200161420002</c:v>
                </c:pt>
                <c:pt idx="170">
                  <c:v>3.2516095467250001</c:v>
                </c:pt>
                <c:pt idx="171">
                  <c:v>6.5481452378610001</c:v>
                </c:pt>
                <c:pt idx="172">
                  <c:v>3.2968482131079999</c:v>
                </c:pt>
                <c:pt idx="173">
                  <c:v>0</c:v>
                </c:pt>
                <c:pt idx="174">
                  <c:v>6.6212010858759998</c:v>
                </c:pt>
                <c:pt idx="175">
                  <c:v>6.661337596589</c:v>
                </c:pt>
                <c:pt idx="176">
                  <c:v>3.3494105037509998</c:v>
                </c:pt>
                <c:pt idx="177">
                  <c:v>0</c:v>
                </c:pt>
                <c:pt idx="178">
                  <c:v>10.19367991845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3.5006651263739998</c:v>
                </c:pt>
                <c:pt idx="184">
                  <c:v>7.0566650201109997</c:v>
                </c:pt>
                <c:pt idx="185">
                  <c:v>0</c:v>
                </c:pt>
                <c:pt idx="186">
                  <c:v>7.1674311926599996</c:v>
                </c:pt>
                <c:pt idx="187">
                  <c:v>3.5980282805020001</c:v>
                </c:pt>
                <c:pt idx="188">
                  <c:v>0</c:v>
                </c:pt>
                <c:pt idx="189">
                  <c:v>21.780165529257999</c:v>
                </c:pt>
                <c:pt idx="190">
                  <c:v>0</c:v>
                </c:pt>
                <c:pt idx="191">
                  <c:v>0</c:v>
                </c:pt>
                <c:pt idx="192">
                  <c:v>7.4128984432909997</c:v>
                </c:pt>
                <c:pt idx="193">
                  <c:v>18.649757553151002</c:v>
                </c:pt>
                <c:pt idx="194">
                  <c:v>7.4788721860739997</c:v>
                </c:pt>
                <c:pt idx="195">
                  <c:v>3.7491095864730002</c:v>
                </c:pt>
                <c:pt idx="196">
                  <c:v>0</c:v>
                </c:pt>
                <c:pt idx="197">
                  <c:v>3.7919005005300002</c:v>
                </c:pt>
                <c:pt idx="198">
                  <c:v>3.815046543567</c:v>
                </c:pt>
                <c:pt idx="199">
                  <c:v>0</c:v>
                </c:pt>
                <c:pt idx="200">
                  <c:v>7.7303648732220003</c:v>
                </c:pt>
                <c:pt idx="201">
                  <c:v>3.8776222420409998</c:v>
                </c:pt>
                <c:pt idx="202">
                  <c:v>3.8865137971229999</c:v>
                </c:pt>
                <c:pt idx="203">
                  <c:v>0</c:v>
                </c:pt>
                <c:pt idx="204">
                  <c:v>7.8845698967119997</c:v>
                </c:pt>
                <c:pt idx="205">
                  <c:v>7.9402890265200003</c:v>
                </c:pt>
                <c:pt idx="206">
                  <c:v>7.9849882221420003</c:v>
                </c:pt>
                <c:pt idx="207">
                  <c:v>4.0239829383119998</c:v>
                </c:pt>
                <c:pt idx="208">
                  <c:v>0</c:v>
                </c:pt>
                <c:pt idx="209">
                  <c:v>4.0397511513289999</c:v>
                </c:pt>
                <c:pt idx="210">
                  <c:v>0</c:v>
                </c:pt>
                <c:pt idx="211">
                  <c:v>4.0876389797249999</c:v>
                </c:pt>
                <c:pt idx="212">
                  <c:v>4.1131951299759999</c:v>
                </c:pt>
                <c:pt idx="213">
                  <c:v>12.407974191413</c:v>
                </c:pt>
                <c:pt idx="214">
                  <c:v>12.509382036527001</c:v>
                </c:pt>
                <c:pt idx="215">
                  <c:v>16.721708958655</c:v>
                </c:pt>
                <c:pt idx="216">
                  <c:v>4.1876046901170003</c:v>
                </c:pt>
                <c:pt idx="217">
                  <c:v>12.649154614833</c:v>
                </c:pt>
                <c:pt idx="218">
                  <c:v>8.4792470428619993</c:v>
                </c:pt>
                <c:pt idx="219">
                  <c:v>4.2627562982220004</c:v>
                </c:pt>
                <c:pt idx="220">
                  <c:v>4.2810051800159998</c:v>
                </c:pt>
                <c:pt idx="221">
                  <c:v>4.305890458146</c:v>
                </c:pt>
                <c:pt idx="222">
                  <c:v>0</c:v>
                </c:pt>
                <c:pt idx="223">
                  <c:v>4.3181621901709999</c:v>
                </c:pt>
                <c:pt idx="224">
                  <c:v>0</c:v>
                </c:pt>
                <c:pt idx="225">
                  <c:v>0</c:v>
                </c:pt>
                <c:pt idx="226">
                  <c:v>4.3635728934850002</c:v>
                </c:pt>
                <c:pt idx="227">
                  <c:v>17.506236596787002</c:v>
                </c:pt>
                <c:pt idx="228">
                  <c:v>13.171759747102</c:v>
                </c:pt>
                <c:pt idx="229">
                  <c:v>0</c:v>
                </c:pt>
                <c:pt idx="230">
                  <c:v>21.986720021107001</c:v>
                </c:pt>
                <c:pt idx="231">
                  <c:v>17.640573318632001</c:v>
                </c:pt>
                <c:pt idx="232">
                  <c:v>13.257910553296</c:v>
                </c:pt>
                <c:pt idx="233">
                  <c:v>13.284328919984</c:v>
                </c:pt>
                <c:pt idx="234">
                  <c:v>13.310852781968</c:v>
                </c:pt>
                <c:pt idx="235">
                  <c:v>22.251891410769002</c:v>
                </c:pt>
                <c:pt idx="236">
                  <c:v>13.360053440212999</c:v>
                </c:pt>
                <c:pt idx="237">
                  <c:v>8.9126559714789995</c:v>
                </c:pt>
                <c:pt idx="238">
                  <c:v>8.9305648582269992</c:v>
                </c:pt>
                <c:pt idx="239">
                  <c:v>17.895490336435</c:v>
                </c:pt>
                <c:pt idx="240">
                  <c:v>22.417503586799999</c:v>
                </c:pt>
                <c:pt idx="241">
                  <c:v>44.909507342704003</c:v>
                </c:pt>
                <c:pt idx="242">
                  <c:v>49.558479005225998</c:v>
                </c:pt>
                <c:pt idx="243">
                  <c:v>18.033452053558999</c:v>
                </c:pt>
                <c:pt idx="244">
                  <c:v>18.047283883774998</c:v>
                </c:pt>
                <c:pt idx="245">
                  <c:v>27.133360466692999</c:v>
                </c:pt>
                <c:pt idx="246">
                  <c:v>36.240090600225997</c:v>
                </c:pt>
                <c:pt idx="247">
                  <c:v>31.757553761000999</c:v>
                </c:pt>
                <c:pt idx="248">
                  <c:v>27.270248159257999</c:v>
                </c:pt>
                <c:pt idx="249">
                  <c:v>22.791503327558999</c:v>
                </c:pt>
                <c:pt idx="250">
                  <c:v>18.249007710204999</c:v>
                </c:pt>
                <c:pt idx="251">
                  <c:v>13.697379234773001</c:v>
                </c:pt>
                <c:pt idx="252">
                  <c:v>45.747746923464</c:v>
                </c:pt>
                <c:pt idx="253">
                  <c:v>82.387403881362005</c:v>
                </c:pt>
                <c:pt idx="254">
                  <c:v>32.102728731942001</c:v>
                </c:pt>
                <c:pt idx="255">
                  <c:v>45.968557506665</c:v>
                </c:pt>
                <c:pt idx="256">
                  <c:v>13.818516812527999</c:v>
                </c:pt>
                <c:pt idx="257">
                  <c:v>23.047847331059</c:v>
                </c:pt>
                <c:pt idx="258">
                  <c:v>27.672723918456999</c:v>
                </c:pt>
                <c:pt idx="259">
                  <c:v>124.786245782687</c:v>
                </c:pt>
                <c:pt idx="260">
                  <c:v>97.213220998054993</c:v>
                </c:pt>
                <c:pt idx="261">
                  <c:v>125.17965598776</c:v>
                </c:pt>
                <c:pt idx="262">
                  <c:v>129.978646365239</c:v>
                </c:pt>
                <c:pt idx="263">
                  <c:v>83.759888320147994</c:v>
                </c:pt>
                <c:pt idx="264">
                  <c:v>74.505238649592002</c:v>
                </c:pt>
                <c:pt idx="265">
                  <c:v>41.928721174003996</c:v>
                </c:pt>
                <c:pt idx="266">
                  <c:v>144.66377339119799</c:v>
                </c:pt>
                <c:pt idx="267">
                  <c:v>201.05671669705799</c:v>
                </c:pt>
                <c:pt idx="268">
                  <c:v>168.54721662999199</c:v>
                </c:pt>
                <c:pt idx="269">
                  <c:v>107.874865156418</c:v>
                </c:pt>
                <c:pt idx="270">
                  <c:v>188.03177737037501</c:v>
                </c:pt>
                <c:pt idx="271">
                  <c:v>136.41923040737601</c:v>
                </c:pt>
                <c:pt idx="272">
                  <c:v>80.015061658665005</c:v>
                </c:pt>
                <c:pt idx="273">
                  <c:v>273.32704995287401</c:v>
                </c:pt>
                <c:pt idx="274">
                  <c:v>292.452830188679</c:v>
                </c:pt>
                <c:pt idx="275">
                  <c:v>255.102040816326</c:v>
                </c:pt>
                <c:pt idx="276">
                  <c:v>260.39200833254398</c:v>
                </c:pt>
                <c:pt idx="277">
                  <c:v>270.55249667742498</c:v>
                </c:pt>
                <c:pt idx="278">
                  <c:v>99.752992589776994</c:v>
                </c:pt>
                <c:pt idx="279">
                  <c:v>61.807635620215002</c:v>
                </c:pt>
                <c:pt idx="280">
                  <c:v>214.36737804878001</c:v>
                </c:pt>
                <c:pt idx="281">
                  <c:v>291.39199388554499</c:v>
                </c:pt>
                <c:pt idx="282">
                  <c:v>287.56290438533398</c:v>
                </c:pt>
                <c:pt idx="283">
                  <c:v>259.030076269966</c:v>
                </c:pt>
                <c:pt idx="284">
                  <c:v>394.51527543901801</c:v>
                </c:pt>
                <c:pt idx="285">
                  <c:v>154.16486004721199</c:v>
                </c:pt>
                <c:pt idx="286">
                  <c:v>106.090562762212</c:v>
                </c:pt>
                <c:pt idx="287">
                  <c:v>328.851919914885</c:v>
                </c:pt>
                <c:pt idx="288">
                  <c:v>392.91777831675898</c:v>
                </c:pt>
                <c:pt idx="289">
                  <c:v>330.77147582449601</c:v>
                </c:pt>
                <c:pt idx="290">
                  <c:v>361.04605776736901</c:v>
                </c:pt>
                <c:pt idx="291">
                  <c:v>661.24608150470203</c:v>
                </c:pt>
                <c:pt idx="292">
                  <c:v>313.95634044640599</c:v>
                </c:pt>
                <c:pt idx="293">
                  <c:v>201.28626834896099</c:v>
                </c:pt>
                <c:pt idx="294">
                  <c:v>428.44479464197701</c:v>
                </c:pt>
                <c:pt idx="295">
                  <c:v>523.275904625561</c:v>
                </c:pt>
                <c:pt idx="296">
                  <c:v>410.70810035132803</c:v>
                </c:pt>
                <c:pt idx="297">
                  <c:v>610.60365369340695</c:v>
                </c:pt>
                <c:pt idx="298">
                  <c:v>369.22462828060998</c:v>
                </c:pt>
                <c:pt idx="299">
                  <c:v>254.91078122657001</c:v>
                </c:pt>
                <c:pt idx="300">
                  <c:v>165.15689905410099</c:v>
                </c:pt>
                <c:pt idx="301">
                  <c:v>487.80487804877998</c:v>
                </c:pt>
                <c:pt idx="302">
                  <c:v>510.35876705406702</c:v>
                </c:pt>
                <c:pt idx="303">
                  <c:v>379.45863900834797</c:v>
                </c:pt>
                <c:pt idx="304">
                  <c:v>325.30242960252099</c:v>
                </c:pt>
                <c:pt idx="305">
                  <c:v>312.355983409288</c:v>
                </c:pt>
                <c:pt idx="306">
                  <c:v>235.836964880799</c:v>
                </c:pt>
                <c:pt idx="307">
                  <c:v>107.769680796469</c:v>
                </c:pt>
                <c:pt idx="308">
                  <c:v>417.978223850559</c:v>
                </c:pt>
                <c:pt idx="309">
                  <c:v>393.925257865547</c:v>
                </c:pt>
                <c:pt idx="310">
                  <c:v>364.79232893845398</c:v>
                </c:pt>
                <c:pt idx="311">
                  <c:v>257.13685978169599</c:v>
                </c:pt>
                <c:pt idx="312">
                  <c:v>253.71319837200599</c:v>
                </c:pt>
                <c:pt idx="313">
                  <c:v>142.99332697807401</c:v>
                </c:pt>
                <c:pt idx="314">
                  <c:v>132.520540683805</c:v>
                </c:pt>
                <c:pt idx="315">
                  <c:v>282.335393138717</c:v>
                </c:pt>
                <c:pt idx="316">
                  <c:v>449.26993635342501</c:v>
                </c:pt>
                <c:pt idx="317">
                  <c:v>247.15237481194899</c:v>
                </c:pt>
                <c:pt idx="318">
                  <c:v>237.47841105353999</c:v>
                </c:pt>
                <c:pt idx="319">
                  <c:v>250.040767516442</c:v>
                </c:pt>
                <c:pt idx="320">
                  <c:v>147.02679154868201</c:v>
                </c:pt>
                <c:pt idx="321">
                  <c:v>108.997765545806</c:v>
                </c:pt>
                <c:pt idx="322">
                  <c:v>279.26842624028001</c:v>
                </c:pt>
                <c:pt idx="323">
                  <c:v>242.170730364907</c:v>
                </c:pt>
                <c:pt idx="324">
                  <c:v>71.747888956343999</c:v>
                </c:pt>
                <c:pt idx="325">
                  <c:v>149.791955617198</c:v>
                </c:pt>
                <c:pt idx="326">
                  <c:v>33.540164346805</c:v>
                </c:pt>
                <c:pt idx="327">
                  <c:v>33.605914640976003</c:v>
                </c:pt>
                <c:pt idx="328">
                  <c:v>67.313625399673995</c:v>
                </c:pt>
                <c:pt idx="329">
                  <c:v>129.584765338892</c:v>
                </c:pt>
                <c:pt idx="330">
                  <c:v>277.46319365798399</c:v>
                </c:pt>
                <c:pt idx="331">
                  <c:v>216.33931113008799</c:v>
                </c:pt>
                <c:pt idx="332">
                  <c:v>148.86064353601199</c:v>
                </c:pt>
                <c:pt idx="333">
                  <c:v>207.79220779220699</c:v>
                </c:pt>
                <c:pt idx="334">
                  <c:v>28.98382702452</c:v>
                </c:pt>
                <c:pt idx="335">
                  <c:v>46.514332228617</c:v>
                </c:pt>
                <c:pt idx="336">
                  <c:v>169.84889305376501</c:v>
                </c:pt>
                <c:pt idx="337">
                  <c:v>165.13328615239399</c:v>
                </c:pt>
                <c:pt idx="338">
                  <c:v>172.127255460588</c:v>
                </c:pt>
                <c:pt idx="339">
                  <c:v>184.76576469185801</c:v>
                </c:pt>
                <c:pt idx="340">
                  <c:v>95.590871071812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55-4851-8113-CB904A1C35C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C$2:$C$342</c:f>
              <c:numCache>
                <c:formatCode>General</c:formatCode>
                <c:ptCount val="3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.1687034406480001</c:v>
                </c:pt>
                <c:pt idx="9">
                  <c:v>0</c:v>
                </c:pt>
                <c:pt idx="10">
                  <c:v>1.0845751719050001</c:v>
                </c:pt>
                <c:pt idx="11">
                  <c:v>1.0846810495370001</c:v>
                </c:pt>
                <c:pt idx="12">
                  <c:v>1.0847869478429999</c:v>
                </c:pt>
                <c:pt idx="13">
                  <c:v>0</c:v>
                </c:pt>
                <c:pt idx="14">
                  <c:v>1.0849988065009999</c:v>
                </c:pt>
                <c:pt idx="15">
                  <c:v>3.2553496245489999</c:v>
                </c:pt>
                <c:pt idx="16">
                  <c:v>0</c:v>
                </c:pt>
                <c:pt idx="17">
                  <c:v>4.3413141157819997</c:v>
                </c:pt>
                <c:pt idx="18">
                  <c:v>3.25630366117</c:v>
                </c:pt>
                <c:pt idx="19">
                  <c:v>2.1710811984360001</c:v>
                </c:pt>
                <c:pt idx="20">
                  <c:v>0</c:v>
                </c:pt>
                <c:pt idx="21">
                  <c:v>1.085764541101</c:v>
                </c:pt>
                <c:pt idx="22">
                  <c:v>7.6010945576160003</c:v>
                </c:pt>
                <c:pt idx="23">
                  <c:v>1.085976781816</c:v>
                </c:pt>
                <c:pt idx="24">
                  <c:v>4.3443317331709999</c:v>
                </c:pt>
                <c:pt idx="25">
                  <c:v>9.7758081334719993</c:v>
                </c:pt>
                <c:pt idx="26">
                  <c:v>3.2589212970500001</c:v>
                </c:pt>
                <c:pt idx="27">
                  <c:v>1.086413315081</c:v>
                </c:pt>
                <c:pt idx="28">
                  <c:v>2.1726614015829999</c:v>
                </c:pt>
                <c:pt idx="29">
                  <c:v>6.517488594394</c:v>
                </c:pt>
                <c:pt idx="30">
                  <c:v>8.6893240792030007</c:v>
                </c:pt>
                <c:pt idx="31">
                  <c:v>2.1719299769770002</c:v>
                </c:pt>
                <c:pt idx="32">
                  <c:v>2.1715526601519999</c:v>
                </c:pt>
                <c:pt idx="33">
                  <c:v>6.5135264232049996</c:v>
                </c:pt>
                <c:pt idx="34">
                  <c:v>1.085399209829</c:v>
                </c:pt>
                <c:pt idx="35">
                  <c:v>4.3407958849249999</c:v>
                </c:pt>
                <c:pt idx="36">
                  <c:v>2.170021157706</c:v>
                </c:pt>
                <c:pt idx="37">
                  <c:v>3.2544667556219999</c:v>
                </c:pt>
                <c:pt idx="38">
                  <c:v>6.5078039415589997</c:v>
                </c:pt>
                <c:pt idx="39">
                  <c:v>6.5066042032659999</c:v>
                </c:pt>
                <c:pt idx="40">
                  <c:v>1.084245906971</c:v>
                </c:pt>
                <c:pt idx="41">
                  <c:v>2.1681156906529999</c:v>
                </c:pt>
                <c:pt idx="42">
                  <c:v>8.6709587912679993</c:v>
                </c:pt>
                <c:pt idx="43">
                  <c:v>2.1673403482909999</c:v>
                </c:pt>
                <c:pt idx="44">
                  <c:v>0</c:v>
                </c:pt>
                <c:pt idx="45">
                  <c:v>6.4997670916789998</c:v>
                </c:pt>
                <c:pt idx="46">
                  <c:v>6.4986407009859999</c:v>
                </c:pt>
                <c:pt idx="47">
                  <c:v>1.0829073897599999</c:v>
                </c:pt>
                <c:pt idx="48">
                  <c:v>1.082719792117</c:v>
                </c:pt>
                <c:pt idx="49">
                  <c:v>4.3301290378450004</c:v>
                </c:pt>
                <c:pt idx="50">
                  <c:v>7.5764135422979999</c:v>
                </c:pt>
                <c:pt idx="51">
                  <c:v>6.4928740707069998</c:v>
                </c:pt>
                <c:pt idx="52">
                  <c:v>4.3278333784139997</c:v>
                </c:pt>
                <c:pt idx="53">
                  <c:v>0</c:v>
                </c:pt>
                <c:pt idx="54">
                  <c:v>1.081583871421</c:v>
                </c:pt>
                <c:pt idx="55">
                  <c:v>0</c:v>
                </c:pt>
                <c:pt idx="56">
                  <c:v>4.3247918693910004</c:v>
                </c:pt>
                <c:pt idx="57">
                  <c:v>5.4050548072550004</c:v>
                </c:pt>
                <c:pt idx="58">
                  <c:v>5.4040616927679999</c:v>
                </c:pt>
                <c:pt idx="59">
                  <c:v>2.160853969488</c:v>
                </c:pt>
                <c:pt idx="60">
                  <c:v>1.0800419056249999</c:v>
                </c:pt>
                <c:pt idx="61">
                  <c:v>3.2389713027139999</c:v>
                </c:pt>
                <c:pt idx="62">
                  <c:v>0</c:v>
                </c:pt>
                <c:pt idx="63">
                  <c:v>1.0788766736069999</c:v>
                </c:pt>
                <c:pt idx="64">
                  <c:v>1.078492698604</c:v>
                </c:pt>
                <c:pt idx="65">
                  <c:v>4.3124359872779996</c:v>
                </c:pt>
                <c:pt idx="66">
                  <c:v>2.1554279063249999</c:v>
                </c:pt>
                <c:pt idx="67">
                  <c:v>1.0773308051970001</c:v>
                </c:pt>
                <c:pt idx="68">
                  <c:v>2.1538958591349999</c:v>
                </c:pt>
                <c:pt idx="69">
                  <c:v>0</c:v>
                </c:pt>
                <c:pt idx="70">
                  <c:v>1.0761714125820001</c:v>
                </c:pt>
                <c:pt idx="71">
                  <c:v>2.151578720886</c:v>
                </c:pt>
                <c:pt idx="72">
                  <c:v>1.0754075794719999</c:v>
                </c:pt>
                <c:pt idx="73">
                  <c:v>3.2250782081459999</c:v>
                </c:pt>
                <c:pt idx="74">
                  <c:v>2.1492665627849998</c:v>
                </c:pt>
                <c:pt idx="75">
                  <c:v>2.1485046407700001</c:v>
                </c:pt>
                <c:pt idx="76">
                  <c:v>1.0738716293849999</c:v>
                </c:pt>
                <c:pt idx="77">
                  <c:v>3.2204736243209999</c:v>
                </c:pt>
                <c:pt idx="78">
                  <c:v>2.1461990814259999</c:v>
                </c:pt>
                <c:pt idx="79">
                  <c:v>2.145439332339</c:v>
                </c:pt>
                <c:pt idx="80">
                  <c:v>2.1446801209589998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4.2832514161489996</c:v>
                </c:pt>
                <c:pt idx="85">
                  <c:v>4.2817383857840001</c:v>
                </c:pt>
                <c:pt idx="86">
                  <c:v>2.140090311811</c:v>
                </c:pt>
                <c:pt idx="87">
                  <c:v>3.2090023211780001</c:v>
                </c:pt>
                <c:pt idx="88">
                  <c:v>1.069289991445</c:v>
                </c:pt>
                <c:pt idx="89">
                  <c:v>0</c:v>
                </c:pt>
                <c:pt idx="90">
                  <c:v>0</c:v>
                </c:pt>
                <c:pt idx="91">
                  <c:v>3.2073898261589999</c:v>
                </c:pt>
                <c:pt idx="92">
                  <c:v>3.2076298822789999</c:v>
                </c:pt>
                <c:pt idx="93">
                  <c:v>0</c:v>
                </c:pt>
                <c:pt idx="94">
                  <c:v>1.069358598712</c:v>
                </c:pt>
                <c:pt idx="95">
                  <c:v>2.138854429567</c:v>
                </c:pt>
                <c:pt idx="96">
                  <c:v>0</c:v>
                </c:pt>
                <c:pt idx="97">
                  <c:v>0</c:v>
                </c:pt>
                <c:pt idx="98">
                  <c:v>2.1393119972610002</c:v>
                </c:pt>
                <c:pt idx="99">
                  <c:v>2.13947219221</c:v>
                </c:pt>
                <c:pt idx="100">
                  <c:v>4.2792190425239998</c:v>
                </c:pt>
                <c:pt idx="101">
                  <c:v>1.0698848803859999</c:v>
                </c:pt>
                <c:pt idx="102">
                  <c:v>1.069953564015</c:v>
                </c:pt>
                <c:pt idx="103">
                  <c:v>0</c:v>
                </c:pt>
                <c:pt idx="104">
                  <c:v>1.0701024088</c:v>
                </c:pt>
                <c:pt idx="105">
                  <c:v>4.2807302925870001</c:v>
                </c:pt>
                <c:pt idx="106">
                  <c:v>2.1405025900079999</c:v>
                </c:pt>
                <c:pt idx="107">
                  <c:v>1.0703314816589999</c:v>
                </c:pt>
                <c:pt idx="108">
                  <c:v>2.1408004452860001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.0707096663660001</c:v>
                </c:pt>
                <c:pt idx="113">
                  <c:v>0</c:v>
                </c:pt>
                <c:pt idx="114">
                  <c:v>1.0708587216080001</c:v>
                </c:pt>
                <c:pt idx="115">
                  <c:v>1.070927530334</c:v>
                </c:pt>
                <c:pt idx="116">
                  <c:v>1.071007818357</c:v>
                </c:pt>
                <c:pt idx="117">
                  <c:v>1.071076646244</c:v>
                </c:pt>
                <c:pt idx="118">
                  <c:v>0</c:v>
                </c:pt>
                <c:pt idx="119">
                  <c:v>1.0712258036869999</c:v>
                </c:pt>
                <c:pt idx="120">
                  <c:v>0</c:v>
                </c:pt>
                <c:pt idx="121">
                  <c:v>0</c:v>
                </c:pt>
                <c:pt idx="122">
                  <c:v>1.071294659596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1.0713635243570001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1.071662040658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1.0712028536839999</c:v>
                </c:pt>
                <c:pt idx="157">
                  <c:v>3.213333190518</c:v>
                </c:pt>
                <c:pt idx="158">
                  <c:v>0</c:v>
                </c:pt>
                <c:pt idx="159">
                  <c:v>0</c:v>
                </c:pt>
                <c:pt idx="161">
                  <c:v>2.1414881200939999</c:v>
                </c:pt>
                <c:pt idx="162">
                  <c:v>0</c:v>
                </c:pt>
                <c:pt idx="163">
                  <c:v>2.1411213052270002</c:v>
                </c:pt>
                <c:pt idx="164">
                  <c:v>1.0704689724559999</c:v>
                </c:pt>
                <c:pt idx="165">
                  <c:v>2.1407775303990002</c:v>
                </c:pt>
                <c:pt idx="166">
                  <c:v>0</c:v>
                </c:pt>
                <c:pt idx="167">
                  <c:v>0</c:v>
                </c:pt>
                <c:pt idx="168">
                  <c:v>2.1402277202289999</c:v>
                </c:pt>
                <c:pt idx="169">
                  <c:v>3.2100667693879998</c:v>
                </c:pt>
                <c:pt idx="170">
                  <c:v>0</c:v>
                </c:pt>
                <c:pt idx="171">
                  <c:v>1.0698390961990001</c:v>
                </c:pt>
                <c:pt idx="172">
                  <c:v>1.06974753958</c:v>
                </c:pt>
                <c:pt idx="173">
                  <c:v>0</c:v>
                </c:pt>
                <c:pt idx="174">
                  <c:v>0</c:v>
                </c:pt>
                <c:pt idx="175">
                  <c:v>1.069472963723</c:v>
                </c:pt>
                <c:pt idx="176">
                  <c:v>3.2081444092729998</c:v>
                </c:pt>
                <c:pt idx="177">
                  <c:v>1.069289991445</c:v>
                </c:pt>
                <c:pt idx="178">
                  <c:v>1.0691985287820001</c:v>
                </c:pt>
                <c:pt idx="179">
                  <c:v>1.0691070817649999</c:v>
                </c:pt>
                <c:pt idx="180">
                  <c:v>1.069015650389</c:v>
                </c:pt>
                <c:pt idx="181">
                  <c:v>1.0691870970499999</c:v>
                </c:pt>
                <c:pt idx="182">
                  <c:v>2.138717197424</c:v>
                </c:pt>
                <c:pt idx="183">
                  <c:v>3.2085904662079998</c:v>
                </c:pt>
                <c:pt idx="184">
                  <c:v>1.0697017671469999</c:v>
                </c:pt>
                <c:pt idx="185">
                  <c:v>1.069873433972</c:v>
                </c:pt>
                <c:pt idx="186">
                  <c:v>1.0700451559049999</c:v>
                </c:pt>
                <c:pt idx="187">
                  <c:v>0</c:v>
                </c:pt>
                <c:pt idx="188">
                  <c:v>0</c:v>
                </c:pt>
                <c:pt idx="189">
                  <c:v>2.1410983834700001</c:v>
                </c:pt>
                <c:pt idx="190">
                  <c:v>1.0707211306810001</c:v>
                </c:pt>
                <c:pt idx="191">
                  <c:v>1.0708931248660001</c:v>
                </c:pt>
                <c:pt idx="192">
                  <c:v>0</c:v>
                </c:pt>
                <c:pt idx="193">
                  <c:v>2.1424516073739999</c:v>
                </c:pt>
                <c:pt idx="194">
                  <c:v>0</c:v>
                </c:pt>
                <c:pt idx="195">
                  <c:v>0</c:v>
                </c:pt>
                <c:pt idx="196">
                  <c:v>1.071742438857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.072420560446</c:v>
                </c:pt>
                <c:pt idx="201">
                  <c:v>1.0725931010809999</c:v>
                </c:pt>
                <c:pt idx="202">
                  <c:v>1.0727656972440001</c:v>
                </c:pt>
                <c:pt idx="203">
                  <c:v>1.0729383489619999</c:v>
                </c:pt>
                <c:pt idx="204">
                  <c:v>1.073111056263</c:v>
                </c:pt>
                <c:pt idx="205">
                  <c:v>3.2198168997450001</c:v>
                </c:pt>
                <c:pt idx="206">
                  <c:v>0</c:v>
                </c:pt>
                <c:pt idx="207">
                  <c:v>1.0736179852479999</c:v>
                </c:pt>
                <c:pt idx="208">
                  <c:v>0</c:v>
                </c:pt>
                <c:pt idx="209">
                  <c:v>0</c:v>
                </c:pt>
                <c:pt idx="210">
                  <c:v>1.074136930975</c:v>
                </c:pt>
                <c:pt idx="211">
                  <c:v>0</c:v>
                </c:pt>
                <c:pt idx="212">
                  <c:v>1.0743561920510001</c:v>
                </c:pt>
                <c:pt idx="213">
                  <c:v>2.1488278144269999</c:v>
                </c:pt>
                <c:pt idx="214">
                  <c:v>3.2233802514229999</c:v>
                </c:pt>
                <c:pt idx="215">
                  <c:v>1.0745178101320001</c:v>
                </c:pt>
                <c:pt idx="216">
                  <c:v>0</c:v>
                </c:pt>
                <c:pt idx="217">
                  <c:v>2.1492434662990001</c:v>
                </c:pt>
                <c:pt idx="218">
                  <c:v>2.1493358552199999</c:v>
                </c:pt>
                <c:pt idx="219">
                  <c:v>0</c:v>
                </c:pt>
                <c:pt idx="220">
                  <c:v>2.1495437593369999</c:v>
                </c:pt>
                <c:pt idx="221">
                  <c:v>1.0748296395020001</c:v>
                </c:pt>
                <c:pt idx="222">
                  <c:v>0</c:v>
                </c:pt>
                <c:pt idx="223">
                  <c:v>2.1498672456970001</c:v>
                </c:pt>
                <c:pt idx="224">
                  <c:v>2.1499596882550001</c:v>
                </c:pt>
                <c:pt idx="225">
                  <c:v>3.2251128789500001</c:v>
                </c:pt>
                <c:pt idx="226">
                  <c:v>4.3003354261629996</c:v>
                </c:pt>
                <c:pt idx="227">
                  <c:v>3.225424949737</c:v>
                </c:pt>
                <c:pt idx="228">
                  <c:v>1.0751994494970001</c:v>
                </c:pt>
                <c:pt idx="229">
                  <c:v>2.1504913872809999</c:v>
                </c:pt>
                <c:pt idx="230">
                  <c:v>1.0752919417619999</c:v>
                </c:pt>
                <c:pt idx="231">
                  <c:v>4.303666724048</c:v>
                </c:pt>
                <c:pt idx="232">
                  <c:v>6.4602265386099997</c:v>
                </c:pt>
                <c:pt idx="233">
                  <c:v>5.3873505010229996</c:v>
                </c:pt>
                <c:pt idx="234">
                  <c:v>4.3146687952359999</c:v>
                </c:pt>
                <c:pt idx="235">
                  <c:v>0</c:v>
                </c:pt>
                <c:pt idx="236">
                  <c:v>1.079563856202</c:v>
                </c:pt>
                <c:pt idx="237">
                  <c:v>0</c:v>
                </c:pt>
                <c:pt idx="238">
                  <c:v>5.4053469692210001</c:v>
                </c:pt>
                <c:pt idx="239">
                  <c:v>2.1624660763130001</c:v>
                </c:pt>
                <c:pt idx="240">
                  <c:v>4.3346806965829998</c:v>
                </c:pt>
                <c:pt idx="241">
                  <c:v>2.1715055047659999</c:v>
                </c:pt>
                <c:pt idx="242">
                  <c:v>0</c:v>
                </c:pt>
                <c:pt idx="243">
                  <c:v>0</c:v>
                </c:pt>
                <c:pt idx="244">
                  <c:v>3.2723583886899998</c:v>
                </c:pt>
                <c:pt idx="245">
                  <c:v>4.3772775522260003</c:v>
                </c:pt>
                <c:pt idx="246">
                  <c:v>4.39164708724</c:v>
                </c:pt>
                <c:pt idx="247">
                  <c:v>6.614121148652</c:v>
                </c:pt>
                <c:pt idx="248">
                  <c:v>11.061335103146</c:v>
                </c:pt>
                <c:pt idx="249">
                  <c:v>5.5687969171139997</c:v>
                </c:pt>
                <c:pt idx="250">
                  <c:v>3.3433261637560001</c:v>
                </c:pt>
                <c:pt idx="251">
                  <c:v>2.229679260638</c:v>
                </c:pt>
                <c:pt idx="252">
                  <c:v>10.070380772286001</c:v>
                </c:pt>
                <c:pt idx="253">
                  <c:v>14.605921015672999</c:v>
                </c:pt>
                <c:pt idx="254">
                  <c:v>12.413668577618999</c:v>
                </c:pt>
                <c:pt idx="255">
                  <c:v>10.203156176309999</c:v>
                </c:pt>
                <c:pt idx="256">
                  <c:v>12.550773584044</c:v>
                </c:pt>
                <c:pt idx="257">
                  <c:v>4.5684525509089999</c:v>
                </c:pt>
                <c:pt idx="258">
                  <c:v>7.9989030075869998</c:v>
                </c:pt>
                <c:pt idx="259">
                  <c:v>13.774579014427999</c:v>
                </c:pt>
                <c:pt idx="260">
                  <c:v>39.217043265626003</c:v>
                </c:pt>
                <c:pt idx="261">
                  <c:v>26.706610466668</c:v>
                </c:pt>
                <c:pt idx="262">
                  <c:v>30.434986187198</c:v>
                </c:pt>
                <c:pt idx="263">
                  <c:v>31.963632489256</c:v>
                </c:pt>
                <c:pt idx="264">
                  <c:v>14.232511801124</c:v>
                </c:pt>
                <c:pt idx="265">
                  <c:v>15.435946757857</c:v>
                </c:pt>
                <c:pt idx="266">
                  <c:v>57.428632959249001</c:v>
                </c:pt>
                <c:pt idx="267">
                  <c:v>49.437497739138003</c:v>
                </c:pt>
                <c:pt idx="268">
                  <c:v>31.760768121961</c:v>
                </c:pt>
                <c:pt idx="269">
                  <c:v>22.021581149526</c:v>
                </c:pt>
                <c:pt idx="270">
                  <c:v>49.360777925859999</c:v>
                </c:pt>
                <c:pt idx="271">
                  <c:v>29.66075511339</c:v>
                </c:pt>
                <c:pt idx="272">
                  <c:v>29.702602690559999</c:v>
                </c:pt>
                <c:pt idx="273">
                  <c:v>92.203795307573998</c:v>
                </c:pt>
                <c:pt idx="274">
                  <c:v>79.105976896032004</c:v>
                </c:pt>
                <c:pt idx="275">
                  <c:v>59.581157142132</c:v>
                </c:pt>
                <c:pt idx="276">
                  <c:v>74.390447240499</c:v>
                </c:pt>
                <c:pt idx="277">
                  <c:v>92.480429317597995</c:v>
                </c:pt>
                <c:pt idx="278">
                  <c:v>39.181370564341996</c:v>
                </c:pt>
                <c:pt idx="279">
                  <c:v>32.696834946377002</c:v>
                </c:pt>
                <c:pt idx="280">
                  <c:v>104.047308599049</c:v>
                </c:pt>
                <c:pt idx="281">
                  <c:v>107.509755514852</c:v>
                </c:pt>
                <c:pt idx="282">
                  <c:v>105.898123324396</c:v>
                </c:pt>
                <c:pt idx="283">
                  <c:v>86.547303510573997</c:v>
                </c:pt>
                <c:pt idx="284">
                  <c:v>108.470294242836</c:v>
                </c:pt>
                <c:pt idx="285">
                  <c:v>81.150968309858996</c:v>
                </c:pt>
                <c:pt idx="286">
                  <c:v>37.180352249411001</c:v>
                </c:pt>
                <c:pt idx="287">
                  <c:v>115.071607813778</c:v>
                </c:pt>
                <c:pt idx="288">
                  <c:v>148.68428435167999</c:v>
                </c:pt>
                <c:pt idx="289">
                  <c:v>101.164800269772</c:v>
                </c:pt>
                <c:pt idx="290">
                  <c:v>117.588722816462</c:v>
                </c:pt>
                <c:pt idx="291">
                  <c:v>149.281582384773</c:v>
                </c:pt>
                <c:pt idx="292">
                  <c:v>82.043900683698993</c:v>
                </c:pt>
                <c:pt idx="293">
                  <c:v>66.293883668644995</c:v>
                </c:pt>
                <c:pt idx="294">
                  <c:v>152.481085084445</c:v>
                </c:pt>
                <c:pt idx="295">
                  <c:v>143.65288771621201</c:v>
                </c:pt>
                <c:pt idx="296">
                  <c:v>137.531240295174</c:v>
                </c:pt>
                <c:pt idx="297">
                  <c:v>186.664675576793</c:v>
                </c:pt>
                <c:pt idx="298">
                  <c:v>109.417503761226</c:v>
                </c:pt>
                <c:pt idx="299">
                  <c:v>83.840185363027999</c:v>
                </c:pt>
                <c:pt idx="300">
                  <c:v>68.764230375452001</c:v>
                </c:pt>
                <c:pt idx="301">
                  <c:v>154.25433454680001</c:v>
                </c:pt>
                <c:pt idx="302">
                  <c:v>126.178051250097</c:v>
                </c:pt>
                <c:pt idx="303">
                  <c:v>125.78220810666301</c:v>
                </c:pt>
                <c:pt idx="304">
                  <c:v>81.114610172726003</c:v>
                </c:pt>
                <c:pt idx="305">
                  <c:v>133.09743706276601</c:v>
                </c:pt>
                <c:pt idx="306">
                  <c:v>74.944199156062993</c:v>
                </c:pt>
                <c:pt idx="307">
                  <c:v>60.420987311592</c:v>
                </c:pt>
                <c:pt idx="308">
                  <c:v>156.62610874798</c:v>
                </c:pt>
                <c:pt idx="309">
                  <c:v>129.850671727513</c:v>
                </c:pt>
                <c:pt idx="310">
                  <c:v>107.742293900776</c:v>
                </c:pt>
                <c:pt idx="311">
                  <c:v>90.357337697763001</c:v>
                </c:pt>
                <c:pt idx="312">
                  <c:v>79.993044083122996</c:v>
                </c:pt>
                <c:pt idx="313">
                  <c:v>76.863950807071006</c:v>
                </c:pt>
                <c:pt idx="314">
                  <c:v>59.562391605206003</c:v>
                </c:pt>
                <c:pt idx="315">
                  <c:v>86.648983200706994</c:v>
                </c:pt>
                <c:pt idx="316">
                  <c:v>128.53470437017901</c:v>
                </c:pt>
                <c:pt idx="317">
                  <c:v>61.347479340333997</c:v>
                </c:pt>
                <c:pt idx="318">
                  <c:v>71.245889660211006</c:v>
                </c:pt>
                <c:pt idx="319">
                  <c:v>78.084331077562993</c:v>
                </c:pt>
                <c:pt idx="320">
                  <c:v>52.262206958339</c:v>
                </c:pt>
                <c:pt idx="321">
                  <c:v>33.702185024995003</c:v>
                </c:pt>
                <c:pt idx="322">
                  <c:v>85.103163946517</c:v>
                </c:pt>
                <c:pt idx="323">
                  <c:v>82.134739174450004</c:v>
                </c:pt>
                <c:pt idx="324">
                  <c:v>38.505968425105003</c:v>
                </c:pt>
                <c:pt idx="325">
                  <c:v>83.119092262191998</c:v>
                </c:pt>
                <c:pt idx="326">
                  <c:v>23.199164830066</c:v>
                </c:pt>
                <c:pt idx="327">
                  <c:v>15.467605034705</c:v>
                </c:pt>
                <c:pt idx="328">
                  <c:v>15.471493772723001</c:v>
                </c:pt>
                <c:pt idx="329">
                  <c:v>75.975999376607007</c:v>
                </c:pt>
                <c:pt idx="330">
                  <c:v>62.852316697109998</c:v>
                </c:pt>
                <c:pt idx="331">
                  <c:v>41.570987409929003</c:v>
                </c:pt>
                <c:pt idx="332">
                  <c:v>63.750099609529997</c:v>
                </c:pt>
                <c:pt idx="333">
                  <c:v>51.887922088289002</c:v>
                </c:pt>
                <c:pt idx="334">
                  <c:v>15.978588691153</c:v>
                </c:pt>
                <c:pt idx="335">
                  <c:v>22.019817836051999</c:v>
                </c:pt>
                <c:pt idx="336">
                  <c:v>96.940321114813003</c:v>
                </c:pt>
                <c:pt idx="337">
                  <c:v>83.702509033745997</c:v>
                </c:pt>
                <c:pt idx="338">
                  <c:v>72.288658942107006</c:v>
                </c:pt>
                <c:pt idx="339">
                  <c:v>52.334100900145998</c:v>
                </c:pt>
                <c:pt idx="340">
                  <c:v>59.850800504455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B55-4851-8113-CB904A1C35C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D$2:$D$342</c:f>
              <c:numCache>
                <c:formatCode>General</c:formatCode>
                <c:ptCount val="341"/>
                <c:pt idx="226">
                  <c:v>0</c:v>
                </c:pt>
                <c:pt idx="228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55.066079295153997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31.948881789137001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12.091898428053</c:v>
                </c:pt>
                <c:pt idx="264">
                  <c:v>0</c:v>
                </c:pt>
                <c:pt idx="265">
                  <c:v>0</c:v>
                </c:pt>
                <c:pt idx="266">
                  <c:v>21.901007446342</c:v>
                </c:pt>
                <c:pt idx="267">
                  <c:v>30.703101013202001</c:v>
                </c:pt>
                <c:pt idx="268">
                  <c:v>27.693159789530998</c:v>
                </c:pt>
                <c:pt idx="269">
                  <c:v>0</c:v>
                </c:pt>
                <c:pt idx="270">
                  <c:v>25.770981874408999</c:v>
                </c:pt>
                <c:pt idx="271">
                  <c:v>17.016931847186999</c:v>
                </c:pt>
                <c:pt idx="272">
                  <c:v>8.4331253162420001</c:v>
                </c:pt>
                <c:pt idx="273">
                  <c:v>32.271077047196002</c:v>
                </c:pt>
                <c:pt idx="274">
                  <c:v>23.068050749710999</c:v>
                </c:pt>
                <c:pt idx="275">
                  <c:v>43.623673113275999</c:v>
                </c:pt>
                <c:pt idx="276">
                  <c:v>20.458265139116001</c:v>
                </c:pt>
                <c:pt idx="277">
                  <c:v>31.543751182889999</c:v>
                </c:pt>
                <c:pt idx="278">
                  <c:v>24.920565696840999</c:v>
                </c:pt>
                <c:pt idx="279">
                  <c:v>6.1915670856289999</c:v>
                </c:pt>
                <c:pt idx="280">
                  <c:v>29.981411524854</c:v>
                </c:pt>
                <c:pt idx="281">
                  <c:v>46.363372935381001</c:v>
                </c:pt>
                <c:pt idx="282">
                  <c:v>22.234574763756999</c:v>
                </c:pt>
                <c:pt idx="283">
                  <c:v>16.097875080489001</c:v>
                </c:pt>
                <c:pt idx="284">
                  <c:v>45.578851412943997</c:v>
                </c:pt>
                <c:pt idx="285">
                  <c:v>30.202355783750999</c:v>
                </c:pt>
                <c:pt idx="286">
                  <c:v>20.056157240272</c:v>
                </c:pt>
                <c:pt idx="287">
                  <c:v>73.432222059039006</c:v>
                </c:pt>
                <c:pt idx="288">
                  <c:v>65.857559507009</c:v>
                </c:pt>
                <c:pt idx="289">
                  <c:v>18.716077110236998</c:v>
                </c:pt>
                <c:pt idx="290">
                  <c:v>41.000410004099997</c:v>
                </c:pt>
                <c:pt idx="291">
                  <c:v>78.733269180299004</c:v>
                </c:pt>
                <c:pt idx="292">
                  <c:v>17.35583807003</c:v>
                </c:pt>
                <c:pt idx="293">
                  <c:v>17.295053614665999</c:v>
                </c:pt>
                <c:pt idx="294">
                  <c:v>54.972936400541002</c:v>
                </c:pt>
                <c:pt idx="295">
                  <c:v>49.419322955275</c:v>
                </c:pt>
                <c:pt idx="296">
                  <c:v>32.162096968721997</c:v>
                </c:pt>
                <c:pt idx="297">
                  <c:v>54.852485993024999</c:v>
                </c:pt>
                <c:pt idx="298">
                  <c:v>44.979197121330998</c:v>
                </c:pt>
                <c:pt idx="299">
                  <c:v>40.931755600208</c:v>
                </c:pt>
                <c:pt idx="300">
                  <c:v>18.500018500018001</c:v>
                </c:pt>
                <c:pt idx="301">
                  <c:v>47.045199580212</c:v>
                </c:pt>
                <c:pt idx="302">
                  <c:v>31.848260731094001</c:v>
                </c:pt>
                <c:pt idx="303">
                  <c:v>55.476578482021999</c:v>
                </c:pt>
                <c:pt idx="304">
                  <c:v>54.119875524286002</c:v>
                </c:pt>
                <c:pt idx="305">
                  <c:v>58.396055022059997</c:v>
                </c:pt>
                <c:pt idx="306">
                  <c:v>25.765725144127</c:v>
                </c:pt>
                <c:pt idx="307">
                  <c:v>25.651713855131</c:v>
                </c:pt>
                <c:pt idx="308">
                  <c:v>72.406736974656994</c:v>
                </c:pt>
                <c:pt idx="309">
                  <c:v>43.283351368063002</c:v>
                </c:pt>
                <c:pt idx="310">
                  <c:v>24.236548715462</c:v>
                </c:pt>
                <c:pt idx="311">
                  <c:v>41.482710598832</c:v>
                </c:pt>
                <c:pt idx="312">
                  <c:v>14.328700386874001</c:v>
                </c:pt>
                <c:pt idx="313">
                  <c:v>19.914084947795999</c:v>
                </c:pt>
                <c:pt idx="314">
                  <c:v>8.4968986319990005</c:v>
                </c:pt>
                <c:pt idx="315">
                  <c:v>55.811357611273003</c:v>
                </c:pt>
                <c:pt idx="316">
                  <c:v>43.998350061872003</c:v>
                </c:pt>
                <c:pt idx="317">
                  <c:v>46.003139037722001</c:v>
                </c:pt>
                <c:pt idx="318">
                  <c:v>15.944301240998</c:v>
                </c:pt>
                <c:pt idx="319">
                  <c:v>23.329358701850001</c:v>
                </c:pt>
                <c:pt idx="320">
                  <c:v>23.204248955808001</c:v>
                </c:pt>
                <c:pt idx="321">
                  <c:v>10.270103728046999</c:v>
                </c:pt>
                <c:pt idx="322">
                  <c:v>25.332488917035999</c:v>
                </c:pt>
                <c:pt idx="323">
                  <c:v>25.003750562583999</c:v>
                </c:pt>
                <c:pt idx="324">
                  <c:v>27.226374931934</c:v>
                </c:pt>
                <c:pt idx="325">
                  <c:v>12.313754463735</c:v>
                </c:pt>
                <c:pt idx="326">
                  <c:v>9.8505183835289998</c:v>
                </c:pt>
                <c:pt idx="327">
                  <c:v>0</c:v>
                </c:pt>
                <c:pt idx="328">
                  <c:v>4.9242890557669998</c:v>
                </c:pt>
                <c:pt idx="329">
                  <c:v>19.518383877813999</c:v>
                </c:pt>
                <c:pt idx="330">
                  <c:v>33.815608318639001</c:v>
                </c:pt>
                <c:pt idx="331">
                  <c:v>19.141961572511999</c:v>
                </c:pt>
                <c:pt idx="332">
                  <c:v>16.623919445236002</c:v>
                </c:pt>
                <c:pt idx="333">
                  <c:v>30.811528251801001</c:v>
                </c:pt>
                <c:pt idx="334">
                  <c:v>4.7402351156610001</c:v>
                </c:pt>
                <c:pt idx="335">
                  <c:v>18.928639030852999</c:v>
                </c:pt>
                <c:pt idx="336">
                  <c:v>53.910882966503998</c:v>
                </c:pt>
                <c:pt idx="337">
                  <c:v>62.565172054222998</c:v>
                </c:pt>
                <c:pt idx="338">
                  <c:v>45.786497561868998</c:v>
                </c:pt>
                <c:pt idx="339">
                  <c:v>38.385982342448003</c:v>
                </c:pt>
                <c:pt idx="340">
                  <c:v>39.793076004775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B55-4851-8113-CB904A1C35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68.726219999999998</c:v>
                </c:pt>
                <c:pt idx="1">
                  <c:v>52.54806</c:v>
                </c:pt>
                <c:pt idx="2">
                  <c:v>46.961770000000001</c:v>
                </c:pt>
                <c:pt idx="3">
                  <c:v>47.409689999999998</c:v>
                </c:pt>
                <c:pt idx="4">
                  <c:v>42.565550000000002</c:v>
                </c:pt>
                <c:pt idx="5">
                  <c:v>46.581060000000001</c:v>
                </c:pt>
                <c:pt idx="6">
                  <c:v>58.960810000000002</c:v>
                </c:pt>
                <c:pt idx="7">
                  <c:v>42.30397</c:v>
                </c:pt>
                <c:pt idx="8">
                  <c:v>49.0471</c:v>
                </c:pt>
                <c:pt idx="9">
                  <c:v>47.080170000000003</c:v>
                </c:pt>
                <c:pt idx="10">
                  <c:v>53.86500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8.773070000000001</c:v>
                </c:pt>
                <c:pt idx="1">
                  <c:v>29.9755</c:v>
                </c:pt>
                <c:pt idx="2">
                  <c:v>32.915619999999997</c:v>
                </c:pt>
                <c:pt idx="3">
                  <c:v>31.12574</c:v>
                </c:pt>
                <c:pt idx="4">
                  <c:v>36.019710000000003</c:v>
                </c:pt>
                <c:pt idx="5">
                  <c:v>34.332459999999998</c:v>
                </c:pt>
                <c:pt idx="6">
                  <c:v>26.596209999999999</c:v>
                </c:pt>
                <c:pt idx="7">
                  <c:v>32.870820000000002</c:v>
                </c:pt>
                <c:pt idx="8">
                  <c:v>32.47345</c:v>
                </c:pt>
                <c:pt idx="9">
                  <c:v>33.176229999999997</c:v>
                </c:pt>
                <c:pt idx="10">
                  <c:v>28.720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50675999999999999</c:v>
                </c:pt>
                <c:pt idx="1">
                  <c:v>0.94685459999999999</c:v>
                </c:pt>
                <c:pt idx="2">
                  <c:v>0.91795689999999996</c:v>
                </c:pt>
                <c:pt idx="3">
                  <c:v>0.93811259999999996</c:v>
                </c:pt>
                <c:pt idx="4">
                  <c:v>1.3373218</c:v>
                </c:pt>
                <c:pt idx="5">
                  <c:v>0.92821779999999998</c:v>
                </c:pt>
                <c:pt idx="6">
                  <c:v>0.81461910000000004</c:v>
                </c:pt>
                <c:pt idx="7">
                  <c:v>0.91427340000000001</c:v>
                </c:pt>
                <c:pt idx="8">
                  <c:v>0.81677100000000002</c:v>
                </c:pt>
                <c:pt idx="9">
                  <c:v>0.88608189999999998</c:v>
                </c:pt>
                <c:pt idx="10">
                  <c:v>0.844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2.5165890000000002</c:v>
                </c:pt>
                <c:pt idx="1">
                  <c:v>7.5453960000000002</c:v>
                </c:pt>
                <c:pt idx="2">
                  <c:v>7.8518290000000004</c:v>
                </c:pt>
                <c:pt idx="3">
                  <c:v>7.4348919999999996</c:v>
                </c:pt>
                <c:pt idx="4">
                  <c:v>9.8187580000000008</c:v>
                </c:pt>
                <c:pt idx="5">
                  <c:v>8.0600249999999996</c:v>
                </c:pt>
                <c:pt idx="6">
                  <c:v>5.3060330000000002</c:v>
                </c:pt>
                <c:pt idx="7">
                  <c:v>9.4976870000000009</c:v>
                </c:pt>
                <c:pt idx="8">
                  <c:v>7.5210999999999997</c:v>
                </c:pt>
                <c:pt idx="9">
                  <c:v>7.1829190000000001</c:v>
                </c:pt>
                <c:pt idx="10">
                  <c:v>6.607165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9.4773680000000002</c:v>
                </c:pt>
                <c:pt idx="1">
                  <c:v>8.984197</c:v>
                </c:pt>
                <c:pt idx="2">
                  <c:v>11.352819999999999</c:v>
                </c:pt>
                <c:pt idx="3">
                  <c:v>13.091570000000001</c:v>
                </c:pt>
                <c:pt idx="4">
                  <c:v>10.25867</c:v>
                </c:pt>
                <c:pt idx="5">
                  <c:v>10.098240000000001</c:v>
                </c:pt>
                <c:pt idx="6">
                  <c:v>8.3223249999999993</c:v>
                </c:pt>
                <c:pt idx="7">
                  <c:v>14.41325</c:v>
                </c:pt>
                <c:pt idx="8">
                  <c:v>10.14157</c:v>
                </c:pt>
                <c:pt idx="9">
                  <c:v>11.6746</c:v>
                </c:pt>
                <c:pt idx="10">
                  <c:v>9.96333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B$2:$B$342</c:f>
              <c:numCache>
                <c:formatCode>General</c:formatCode>
                <c:ptCount val="341"/>
                <c:pt idx="0">
                  <c:v>18.539575814505</c:v>
                </c:pt>
                <c:pt idx="1">
                  <c:v>27.003672499459</c:v>
                </c:pt>
                <c:pt idx="2">
                  <c:v>23.034912551095001</c:v>
                </c:pt>
                <c:pt idx="3">
                  <c:v>23.164917364421999</c:v>
                </c:pt>
                <c:pt idx="4">
                  <c:v>19.438563574667</c:v>
                </c:pt>
                <c:pt idx="5">
                  <c:v>11.022927689594001</c:v>
                </c:pt>
                <c:pt idx="6">
                  <c:v>5.1036899678459999</c:v>
                </c:pt>
                <c:pt idx="7">
                  <c:v>24.939371527837</c:v>
                </c:pt>
                <c:pt idx="8">
                  <c:v>31.427324312526999</c:v>
                </c:pt>
                <c:pt idx="9">
                  <c:v>27.529005359275001</c:v>
                </c:pt>
                <c:pt idx="10">
                  <c:v>22.66371131871</c:v>
                </c:pt>
                <c:pt idx="11">
                  <c:v>26.971851617613002</c:v>
                </c:pt>
                <c:pt idx="12">
                  <c:v>11.659468887873</c:v>
                </c:pt>
                <c:pt idx="13">
                  <c:v>8.4182170216339998</c:v>
                </c:pt>
                <c:pt idx="14">
                  <c:v>32.573289902280003</c:v>
                </c:pt>
                <c:pt idx="15">
                  <c:v>32.083397088801</c:v>
                </c:pt>
                <c:pt idx="16">
                  <c:v>33.525512406978997</c:v>
                </c:pt>
                <c:pt idx="17">
                  <c:v>30.416017704219001</c:v>
                </c:pt>
                <c:pt idx="18">
                  <c:v>32.313657906073999</c:v>
                </c:pt>
                <c:pt idx="19">
                  <c:v>16.222091243855001</c:v>
                </c:pt>
                <c:pt idx="20">
                  <c:v>7.5965988941519997</c:v>
                </c:pt>
                <c:pt idx="21">
                  <c:v>41.701881588897002</c:v>
                </c:pt>
                <c:pt idx="22">
                  <c:v>48.825075650480002</c:v>
                </c:pt>
                <c:pt idx="23">
                  <c:v>40.536705987270999</c:v>
                </c:pt>
                <c:pt idx="24">
                  <c:v>49.558399263703002</c:v>
                </c:pt>
                <c:pt idx="25">
                  <c:v>58.230629311016997</c:v>
                </c:pt>
                <c:pt idx="26">
                  <c:v>20.456911126754001</c:v>
                </c:pt>
                <c:pt idx="27">
                  <c:v>11.439443200154001</c:v>
                </c:pt>
                <c:pt idx="28">
                  <c:v>63.993564075841</c:v>
                </c:pt>
                <c:pt idx="29">
                  <c:v>65.233980749821001</c:v>
                </c:pt>
                <c:pt idx="30">
                  <c:v>54.582105752829001</c:v>
                </c:pt>
                <c:pt idx="31">
                  <c:v>44.429704073140002</c:v>
                </c:pt>
                <c:pt idx="32">
                  <c:v>52.983808400455999</c:v>
                </c:pt>
                <c:pt idx="33">
                  <c:v>22.086059910014999</c:v>
                </c:pt>
                <c:pt idx="34">
                  <c:v>10.732119972474999</c:v>
                </c:pt>
                <c:pt idx="35">
                  <c:v>51.423347469463003</c:v>
                </c:pt>
                <c:pt idx="36">
                  <c:v>55.605977322987002</c:v>
                </c:pt>
                <c:pt idx="37">
                  <c:v>49.47346102198</c:v>
                </c:pt>
                <c:pt idx="38">
                  <c:v>46.517036864750999</c:v>
                </c:pt>
                <c:pt idx="39">
                  <c:v>55.274127156502999</c:v>
                </c:pt>
                <c:pt idx="40">
                  <c:v>22.112095316137001</c:v>
                </c:pt>
                <c:pt idx="41">
                  <c:v>8.4556145280460004</c:v>
                </c:pt>
                <c:pt idx="42">
                  <c:v>39.162190210756997</c:v>
                </c:pt>
                <c:pt idx="43">
                  <c:v>53.075426077726</c:v>
                </c:pt>
                <c:pt idx="44">
                  <c:v>33.564555829043996</c:v>
                </c:pt>
                <c:pt idx="45">
                  <c:v>36.998374714253004</c:v>
                </c:pt>
                <c:pt idx="46">
                  <c:v>31.898562571024001</c:v>
                </c:pt>
                <c:pt idx="47">
                  <c:v>12.626682173118001</c:v>
                </c:pt>
                <c:pt idx="48">
                  <c:v>5.9815767436289997</c:v>
                </c:pt>
                <c:pt idx="49">
                  <c:v>46.103579374995</c:v>
                </c:pt>
                <c:pt idx="50">
                  <c:v>35.588861357882003</c:v>
                </c:pt>
                <c:pt idx="51">
                  <c:v>27.010601661151998</c:v>
                </c:pt>
                <c:pt idx="52">
                  <c:v>30.644557186147999</c:v>
                </c:pt>
                <c:pt idx="53">
                  <c:v>25.438994540928999</c:v>
                </c:pt>
                <c:pt idx="54">
                  <c:v>13.076933665533</c:v>
                </c:pt>
                <c:pt idx="55">
                  <c:v>6.2030463850019997</c:v>
                </c:pt>
                <c:pt idx="56">
                  <c:v>32.701111837802003</c:v>
                </c:pt>
                <c:pt idx="57">
                  <c:v>35.823663285662001</c:v>
                </c:pt>
                <c:pt idx="58">
                  <c:v>26.279342306189001</c:v>
                </c:pt>
                <c:pt idx="59">
                  <c:v>22.271874932645002</c:v>
                </c:pt>
                <c:pt idx="60">
                  <c:v>17.507258217469001</c:v>
                </c:pt>
                <c:pt idx="61">
                  <c:v>10.226592061242</c:v>
                </c:pt>
                <c:pt idx="62">
                  <c:v>16.083870071572999</c:v>
                </c:pt>
                <c:pt idx="63">
                  <c:v>9.6149579160680005</c:v>
                </c:pt>
                <c:pt idx="64">
                  <c:v>27.695647292189001</c:v>
                </c:pt>
                <c:pt idx="65">
                  <c:v>33.370749021629997</c:v>
                </c:pt>
                <c:pt idx="66">
                  <c:v>26.921627296991002</c:v>
                </c:pt>
                <c:pt idx="67">
                  <c:v>26.618857111539999</c:v>
                </c:pt>
                <c:pt idx="68">
                  <c:v>7.8484926969769999</c:v>
                </c:pt>
                <c:pt idx="69">
                  <c:v>3.9287173523579999</c:v>
                </c:pt>
                <c:pt idx="70">
                  <c:v>14.328928514567</c:v>
                </c:pt>
                <c:pt idx="71">
                  <c:v>18.562458637999001</c:v>
                </c:pt>
                <c:pt idx="72">
                  <c:v>22.934276915011999</c:v>
                </c:pt>
                <c:pt idx="73">
                  <c:v>16.683071687159</c:v>
                </c:pt>
                <c:pt idx="74">
                  <c:v>16.780916741481001</c:v>
                </c:pt>
                <c:pt idx="75">
                  <c:v>4.2109518435539997</c:v>
                </c:pt>
                <c:pt idx="76">
                  <c:v>2.5331419403859998</c:v>
                </c:pt>
                <c:pt idx="77">
                  <c:v>21.999407708254001</c:v>
                </c:pt>
                <c:pt idx="78">
                  <c:v>19.814945638127</c:v>
                </c:pt>
                <c:pt idx="79">
                  <c:v>19.205419420169999</c:v>
                </c:pt>
                <c:pt idx="80">
                  <c:v>13.299405073279001</c:v>
                </c:pt>
                <c:pt idx="81">
                  <c:v>11.727877164018</c:v>
                </c:pt>
                <c:pt idx="82">
                  <c:v>4.5389761885300004</c:v>
                </c:pt>
                <c:pt idx="83">
                  <c:v>0.91047317290700003</c:v>
                </c:pt>
                <c:pt idx="84">
                  <c:v>12.873681597072</c:v>
                </c:pt>
                <c:pt idx="85">
                  <c:v>14.882198100659</c:v>
                </c:pt>
                <c:pt idx="86">
                  <c:v>7.5304040061739999</c:v>
                </c:pt>
                <c:pt idx="87">
                  <c:v>16.179073795610002</c:v>
                </c:pt>
                <c:pt idx="88">
                  <c:v>12.538822122339999</c:v>
                </c:pt>
                <c:pt idx="89">
                  <c:v>3.8660790226550001</c:v>
                </c:pt>
                <c:pt idx="90">
                  <c:v>5.8120949696309996</c:v>
                </c:pt>
                <c:pt idx="91">
                  <c:v>11.705946620882999</c:v>
                </c:pt>
                <c:pt idx="92">
                  <c:v>11.784230735236999</c:v>
                </c:pt>
                <c:pt idx="93">
                  <c:v>7.9020150138279996</c:v>
                </c:pt>
                <c:pt idx="94">
                  <c:v>5.9649855349100003</c:v>
                </c:pt>
                <c:pt idx="95">
                  <c:v>16.999150042497</c:v>
                </c:pt>
                <c:pt idx="96">
                  <c:v>8.0127402570079997</c:v>
                </c:pt>
                <c:pt idx="97">
                  <c:v>2.0064406745649999</c:v>
                </c:pt>
                <c:pt idx="98">
                  <c:v>9.0571506204139993</c:v>
                </c:pt>
                <c:pt idx="99">
                  <c:v>16.167005163336999</c:v>
                </c:pt>
                <c:pt idx="100">
                  <c:v>6.0939690020109998</c:v>
                </c:pt>
                <c:pt idx="101">
                  <c:v>8.1611001162949997</c:v>
                </c:pt>
                <c:pt idx="102">
                  <c:v>6.1476039713519999</c:v>
                </c:pt>
                <c:pt idx="103">
                  <c:v>4.1012601121690002</c:v>
                </c:pt>
                <c:pt idx="104">
                  <c:v>1.026051446219</c:v>
                </c:pt>
                <c:pt idx="105">
                  <c:v>3.085467448318</c:v>
                </c:pt>
                <c:pt idx="106">
                  <c:v>7.2145610454920002</c:v>
                </c:pt>
                <c:pt idx="107">
                  <c:v>3.100198412698</c:v>
                </c:pt>
                <c:pt idx="108">
                  <c:v>4.1465816617420002</c:v>
                </c:pt>
                <c:pt idx="109">
                  <c:v>4.1629806941769996</c:v>
                </c:pt>
                <c:pt idx="110">
                  <c:v>1.0412002956999999</c:v>
                </c:pt>
                <c:pt idx="111">
                  <c:v>1.042372439672</c:v>
                </c:pt>
                <c:pt idx="112">
                  <c:v>1.044637354142</c:v>
                </c:pt>
                <c:pt idx="113">
                  <c:v>4.1872539988269999</c:v>
                </c:pt>
                <c:pt idx="114">
                  <c:v>7.3537136253800002</c:v>
                </c:pt>
                <c:pt idx="115">
                  <c:v>2.1084591380609998</c:v>
                </c:pt>
                <c:pt idx="116">
                  <c:v>3.1740657666419998</c:v>
                </c:pt>
                <c:pt idx="117">
                  <c:v>1.0630833669969999</c:v>
                </c:pt>
                <c:pt idx="118">
                  <c:v>1.06397693298</c:v>
                </c:pt>
                <c:pt idx="119">
                  <c:v>4.2723631508670001</c:v>
                </c:pt>
                <c:pt idx="120">
                  <c:v>2.1526671546039999</c:v>
                </c:pt>
                <c:pt idx="121">
                  <c:v>1.0835410120269999</c:v>
                </c:pt>
                <c:pt idx="122">
                  <c:v>4.3772296513529998</c:v>
                </c:pt>
                <c:pt idx="123">
                  <c:v>0</c:v>
                </c:pt>
                <c:pt idx="124">
                  <c:v>0</c:v>
                </c:pt>
                <c:pt idx="125">
                  <c:v>1.1076405041970001</c:v>
                </c:pt>
                <c:pt idx="126">
                  <c:v>0</c:v>
                </c:pt>
                <c:pt idx="127">
                  <c:v>1.1237975366349999</c:v>
                </c:pt>
                <c:pt idx="128">
                  <c:v>1.1316185540170001</c:v>
                </c:pt>
                <c:pt idx="129">
                  <c:v>1.142113137727</c:v>
                </c:pt>
                <c:pt idx="131">
                  <c:v>1.1580775911979999</c:v>
                </c:pt>
                <c:pt idx="132">
                  <c:v>1.1613053071649999</c:v>
                </c:pt>
                <c:pt idx="133">
                  <c:v>1.168565585743</c:v>
                </c:pt>
                <c:pt idx="135">
                  <c:v>0</c:v>
                </c:pt>
                <c:pt idx="136">
                  <c:v>2.3873755580489999</c:v>
                </c:pt>
                <c:pt idx="137">
                  <c:v>0</c:v>
                </c:pt>
                <c:pt idx="138">
                  <c:v>0</c:v>
                </c:pt>
                <c:pt idx="139">
                  <c:v>1.210009196069</c:v>
                </c:pt>
                <c:pt idx="141">
                  <c:v>1.224095087706</c:v>
                </c:pt>
                <c:pt idx="142">
                  <c:v>2.4636610002460002</c:v>
                </c:pt>
                <c:pt idx="143">
                  <c:v>2.4808355454109998</c:v>
                </c:pt>
                <c:pt idx="145">
                  <c:v>1.2551460990050001</c:v>
                </c:pt>
                <c:pt idx="146">
                  <c:v>1.257118433127</c:v>
                </c:pt>
                <c:pt idx="147">
                  <c:v>0</c:v>
                </c:pt>
                <c:pt idx="148">
                  <c:v>3.8179596823450002</c:v>
                </c:pt>
                <c:pt idx="150">
                  <c:v>1.290722288192</c:v>
                </c:pt>
                <c:pt idx="151">
                  <c:v>2.6013214713070001</c:v>
                </c:pt>
                <c:pt idx="153">
                  <c:v>1.306608827449</c:v>
                </c:pt>
                <c:pt idx="154">
                  <c:v>0</c:v>
                </c:pt>
                <c:pt idx="155">
                  <c:v>1.3229263130040001</c:v>
                </c:pt>
                <c:pt idx="156">
                  <c:v>0</c:v>
                </c:pt>
                <c:pt idx="157">
                  <c:v>0</c:v>
                </c:pt>
                <c:pt idx="158">
                  <c:v>1.3525942758209999</c:v>
                </c:pt>
                <c:pt idx="159">
                  <c:v>1.3556197215550001</c:v>
                </c:pt>
                <c:pt idx="161">
                  <c:v>2.7325764096670002</c:v>
                </c:pt>
                <c:pt idx="162">
                  <c:v>4.1273990506980001</c:v>
                </c:pt>
                <c:pt idx="163">
                  <c:v>1.3860974426499999</c:v>
                </c:pt>
                <c:pt idx="164">
                  <c:v>4.1919932928100003</c:v>
                </c:pt>
                <c:pt idx="165">
                  <c:v>2.8160288361350001</c:v>
                </c:pt>
                <c:pt idx="166">
                  <c:v>1.411094021194</c:v>
                </c:pt>
                <c:pt idx="167">
                  <c:v>2.826016306114</c:v>
                </c:pt>
                <c:pt idx="168">
                  <c:v>2.8296547821160001</c:v>
                </c:pt>
                <c:pt idx="169">
                  <c:v>2.834065466912</c:v>
                </c:pt>
                <c:pt idx="170">
                  <c:v>5.7065411227610001</c:v>
                </c:pt>
                <c:pt idx="171">
                  <c:v>2.8704700394680001</c:v>
                </c:pt>
                <c:pt idx="172">
                  <c:v>1.4444396296449999</c:v>
                </c:pt>
                <c:pt idx="173">
                  <c:v>0</c:v>
                </c:pt>
                <c:pt idx="174">
                  <c:v>1.450179097118</c:v>
                </c:pt>
                <c:pt idx="175">
                  <c:v>4.3761760973259998</c:v>
                </c:pt>
                <c:pt idx="176">
                  <c:v>1.4667918329030001</c:v>
                </c:pt>
                <c:pt idx="177">
                  <c:v>0</c:v>
                </c:pt>
                <c:pt idx="178">
                  <c:v>5.9456566977819998</c:v>
                </c:pt>
                <c:pt idx="179">
                  <c:v>1.4966475095780001</c:v>
                </c:pt>
                <c:pt idx="180">
                  <c:v>1.49952015355</c:v>
                </c:pt>
                <c:pt idx="181">
                  <c:v>0</c:v>
                </c:pt>
                <c:pt idx="182">
                  <c:v>0</c:v>
                </c:pt>
                <c:pt idx="183">
                  <c:v>3.049245311785</c:v>
                </c:pt>
                <c:pt idx="184">
                  <c:v>7.6778968704889996</c:v>
                </c:pt>
                <c:pt idx="185">
                  <c:v>0</c:v>
                </c:pt>
                <c:pt idx="186">
                  <c:v>6.226746991702</c:v>
                </c:pt>
                <c:pt idx="187">
                  <c:v>1.5615240474700001</c:v>
                </c:pt>
                <c:pt idx="188">
                  <c:v>0</c:v>
                </c:pt>
                <c:pt idx="189">
                  <c:v>12.583166868520999</c:v>
                </c:pt>
                <c:pt idx="190">
                  <c:v>1.5824036711759999</c:v>
                </c:pt>
                <c:pt idx="191">
                  <c:v>4.7771461328999996</c:v>
                </c:pt>
                <c:pt idx="192">
                  <c:v>3.2015879876410001</c:v>
                </c:pt>
                <c:pt idx="193">
                  <c:v>9.6577922286959996</c:v>
                </c:pt>
                <c:pt idx="194">
                  <c:v>4.8394902403610001</c:v>
                </c:pt>
                <c:pt idx="195">
                  <c:v>1.6161877363670001</c:v>
                </c:pt>
                <c:pt idx="196">
                  <c:v>4.8703670633309999</c:v>
                </c:pt>
                <c:pt idx="197">
                  <c:v>4.8946827429799997</c:v>
                </c:pt>
                <c:pt idx="198">
                  <c:v>4.92109838916</c:v>
                </c:pt>
                <c:pt idx="199">
                  <c:v>0</c:v>
                </c:pt>
                <c:pt idx="200">
                  <c:v>4.9761146496809996</c:v>
                </c:pt>
                <c:pt idx="201">
                  <c:v>0</c:v>
                </c:pt>
                <c:pt idx="202">
                  <c:v>0</c:v>
                </c:pt>
                <c:pt idx="203">
                  <c:v>3.352779454167</c:v>
                </c:pt>
                <c:pt idx="204">
                  <c:v>3.3703510220580002</c:v>
                </c:pt>
                <c:pt idx="205">
                  <c:v>3.3913249906730001</c:v>
                </c:pt>
                <c:pt idx="206">
                  <c:v>5.1145662847790003</c:v>
                </c:pt>
                <c:pt idx="207">
                  <c:v>1.715766175385</c:v>
                </c:pt>
                <c:pt idx="208">
                  <c:v>0</c:v>
                </c:pt>
                <c:pt idx="209">
                  <c:v>3.4419853371419999</c:v>
                </c:pt>
                <c:pt idx="210">
                  <c:v>0</c:v>
                </c:pt>
                <c:pt idx="211">
                  <c:v>1.738646637457</c:v>
                </c:pt>
                <c:pt idx="212">
                  <c:v>3.495892326516</c:v>
                </c:pt>
                <c:pt idx="213">
                  <c:v>14.056789429294</c:v>
                </c:pt>
                <c:pt idx="214">
                  <c:v>8.8451740730249995</c:v>
                </c:pt>
                <c:pt idx="215">
                  <c:v>10.626616131203001</c:v>
                </c:pt>
                <c:pt idx="216">
                  <c:v>1.7727039052660001</c:v>
                </c:pt>
                <c:pt idx="217">
                  <c:v>7.1265678449249998</c:v>
                </c:pt>
                <c:pt idx="218">
                  <c:v>8.9490263459329995</c:v>
                </c:pt>
                <c:pt idx="219">
                  <c:v>1.7973327581859999</c:v>
                </c:pt>
                <c:pt idx="220">
                  <c:v>5.4132082280759999</c:v>
                </c:pt>
                <c:pt idx="221">
                  <c:v>1.8121194549140001</c:v>
                </c:pt>
                <c:pt idx="222">
                  <c:v>1.8133681500009999</c:v>
                </c:pt>
                <c:pt idx="223">
                  <c:v>3.6291054255119999</c:v>
                </c:pt>
                <c:pt idx="224">
                  <c:v>3.6381496370940001</c:v>
                </c:pt>
                <c:pt idx="225">
                  <c:v>7.2963408850459999</c:v>
                </c:pt>
                <c:pt idx="226">
                  <c:v>5.4830573527790003</c:v>
                </c:pt>
                <c:pt idx="227">
                  <c:v>10.990621336459</c:v>
                </c:pt>
                <c:pt idx="228">
                  <c:v>14.687792608367999</c:v>
                </c:pt>
                <c:pt idx="229">
                  <c:v>3.6726224360500002</c:v>
                </c:pt>
                <c:pt idx="230">
                  <c:v>9.1807131577979995</c:v>
                </c:pt>
                <c:pt idx="231">
                  <c:v>16.558728289666998</c:v>
                </c:pt>
                <c:pt idx="232">
                  <c:v>14.740837648098999</c:v>
                </c:pt>
                <c:pt idx="233">
                  <c:v>14.763143811474</c:v>
                </c:pt>
                <c:pt idx="234">
                  <c:v>9.2409484909530004</c:v>
                </c:pt>
                <c:pt idx="235">
                  <c:v>12.964403452235</c:v>
                </c:pt>
                <c:pt idx="236">
                  <c:v>9.2601166774700001</c:v>
                </c:pt>
                <c:pt idx="237">
                  <c:v>9.2594307301979999</c:v>
                </c:pt>
                <c:pt idx="238">
                  <c:v>7.4161969741910001</c:v>
                </c:pt>
                <c:pt idx="239">
                  <c:v>14.855529971031</c:v>
                </c:pt>
                <c:pt idx="240">
                  <c:v>24.172554853105002</c:v>
                </c:pt>
                <c:pt idx="241">
                  <c:v>35.384386174016001</c:v>
                </c:pt>
                <c:pt idx="242">
                  <c:v>31.727072524354998</c:v>
                </c:pt>
                <c:pt idx="243">
                  <c:v>13.06921080637</c:v>
                </c:pt>
                <c:pt idx="244">
                  <c:v>11.205946622340001</c:v>
                </c:pt>
                <c:pt idx="245">
                  <c:v>18.712925017309001</c:v>
                </c:pt>
                <c:pt idx="246">
                  <c:v>28.112525067000998</c:v>
                </c:pt>
                <c:pt idx="247">
                  <c:v>24.396652028675</c:v>
                </c:pt>
                <c:pt idx="248">
                  <c:v>15.042117930204</c:v>
                </c:pt>
                <c:pt idx="249">
                  <c:v>15.078407720144</c:v>
                </c:pt>
                <c:pt idx="250">
                  <c:v>9.4282697239399997</c:v>
                </c:pt>
                <c:pt idx="251">
                  <c:v>9.4316488408500003</c:v>
                </c:pt>
                <c:pt idx="252">
                  <c:v>34.007179293405997</c:v>
                </c:pt>
                <c:pt idx="253">
                  <c:v>49.128906692868</c:v>
                </c:pt>
                <c:pt idx="254">
                  <c:v>28.402635764597999</c:v>
                </c:pt>
                <c:pt idx="255">
                  <c:v>45.512297802135002</c:v>
                </c:pt>
                <c:pt idx="256">
                  <c:v>22.792888618749998</c:v>
                </c:pt>
                <c:pt idx="257">
                  <c:v>15.20045601368</c:v>
                </c:pt>
                <c:pt idx="258">
                  <c:v>24.706374244555001</c:v>
                </c:pt>
                <c:pt idx="259">
                  <c:v>97.063357630892</c:v>
                </c:pt>
                <c:pt idx="260">
                  <c:v>81.959401505765001</c:v>
                </c:pt>
                <c:pt idx="261">
                  <c:v>78.247261345851996</c:v>
                </c:pt>
                <c:pt idx="262">
                  <c:v>107.017275645925</c:v>
                </c:pt>
                <c:pt idx="263">
                  <c:v>89.988320664764004</c:v>
                </c:pt>
                <c:pt idx="264">
                  <c:v>57.459156116526998</c:v>
                </c:pt>
                <c:pt idx="265">
                  <c:v>34.481437492815999</c:v>
                </c:pt>
                <c:pt idx="266">
                  <c:v>115.112330449129</c:v>
                </c:pt>
                <c:pt idx="267">
                  <c:v>136.38371847326999</c:v>
                </c:pt>
                <c:pt idx="268">
                  <c:v>148.07122802969101</c:v>
                </c:pt>
                <c:pt idx="269">
                  <c:v>78.960038517090993</c:v>
                </c:pt>
                <c:pt idx="270">
                  <c:v>162.11521760107999</c:v>
                </c:pt>
                <c:pt idx="271">
                  <c:v>127.43034773038799</c:v>
                </c:pt>
                <c:pt idx="272">
                  <c:v>63.728708817734997</c:v>
                </c:pt>
                <c:pt idx="273">
                  <c:v>210.75426825731299</c:v>
                </c:pt>
                <c:pt idx="274">
                  <c:v>232.189156766379</c:v>
                </c:pt>
                <c:pt idx="275">
                  <c:v>217.01220693664001</c:v>
                </c:pt>
                <c:pt idx="276">
                  <c:v>178.602628564772</c:v>
                </c:pt>
                <c:pt idx="277">
                  <c:v>200.47881347684699</c:v>
                </c:pt>
                <c:pt idx="278">
                  <c:v>105.179096628425</c:v>
                </c:pt>
                <c:pt idx="279">
                  <c:v>44.825570064314</c:v>
                </c:pt>
                <c:pt idx="280">
                  <c:v>226.48729913895701</c:v>
                </c:pt>
                <c:pt idx="281">
                  <c:v>232.98157683497399</c:v>
                </c:pt>
                <c:pt idx="282">
                  <c:v>247.45183526777799</c:v>
                </c:pt>
                <c:pt idx="283">
                  <c:v>200.47563827905401</c:v>
                </c:pt>
                <c:pt idx="284">
                  <c:v>297.58385558314598</c:v>
                </c:pt>
                <c:pt idx="285">
                  <c:v>159.797983783463</c:v>
                </c:pt>
                <c:pt idx="286">
                  <c:v>80.947680157945996</c:v>
                </c:pt>
                <c:pt idx="287">
                  <c:v>310.89108910891002</c:v>
                </c:pt>
                <c:pt idx="288">
                  <c:v>373.28250337542602</c:v>
                </c:pt>
                <c:pt idx="289">
                  <c:v>244.88820753777799</c:v>
                </c:pt>
                <c:pt idx="290">
                  <c:v>303.63563723531701</c:v>
                </c:pt>
                <c:pt idx="291">
                  <c:v>537.66676697763</c:v>
                </c:pt>
                <c:pt idx="292">
                  <c:v>273.17465099929598</c:v>
                </c:pt>
                <c:pt idx="293">
                  <c:v>142.72791235299999</c:v>
                </c:pt>
                <c:pt idx="294">
                  <c:v>342.81796366129498</c:v>
                </c:pt>
                <c:pt idx="295">
                  <c:v>438.59649122807002</c:v>
                </c:pt>
                <c:pt idx="296">
                  <c:v>293.897075217382</c:v>
                </c:pt>
                <c:pt idx="297">
                  <c:v>451.47645001220201</c:v>
                </c:pt>
                <c:pt idx="298">
                  <c:v>292.20049449314399</c:v>
                </c:pt>
                <c:pt idx="299">
                  <c:v>178.00147311563899</c:v>
                </c:pt>
                <c:pt idx="300">
                  <c:v>118.781871428863</c:v>
                </c:pt>
                <c:pt idx="301">
                  <c:v>361.98350506982501</c:v>
                </c:pt>
                <c:pt idx="302">
                  <c:v>345.15542328042301</c:v>
                </c:pt>
                <c:pt idx="303">
                  <c:v>316.63907284768197</c:v>
                </c:pt>
                <c:pt idx="304">
                  <c:v>237.006237006237</c:v>
                </c:pt>
                <c:pt idx="305">
                  <c:v>265.74041137452599</c:v>
                </c:pt>
                <c:pt idx="306">
                  <c:v>155.08099838631901</c:v>
                </c:pt>
                <c:pt idx="307">
                  <c:v>90.220515725645001</c:v>
                </c:pt>
                <c:pt idx="308">
                  <c:v>299.50855286747799</c:v>
                </c:pt>
                <c:pt idx="309">
                  <c:v>301.01327002162202</c:v>
                </c:pt>
                <c:pt idx="310">
                  <c:v>240.90734660810901</c:v>
                </c:pt>
                <c:pt idx="311">
                  <c:v>205.95996653150499</c:v>
                </c:pt>
                <c:pt idx="312">
                  <c:v>198.83293710827701</c:v>
                </c:pt>
                <c:pt idx="313">
                  <c:v>129.886998311469</c:v>
                </c:pt>
                <c:pt idx="314">
                  <c:v>84.516198938128994</c:v>
                </c:pt>
                <c:pt idx="315">
                  <c:v>206.74196426628299</c:v>
                </c:pt>
                <c:pt idx="316">
                  <c:v>288.51197761846402</c:v>
                </c:pt>
                <c:pt idx="317">
                  <c:v>175.65816920273099</c:v>
                </c:pt>
                <c:pt idx="318">
                  <c:v>154.440154440154</c:v>
                </c:pt>
                <c:pt idx="319">
                  <c:v>166.45582262467499</c:v>
                </c:pt>
                <c:pt idx="320">
                  <c:v>106.714095153401</c:v>
                </c:pt>
                <c:pt idx="321">
                  <c:v>68.994680732678006</c:v>
                </c:pt>
                <c:pt idx="322">
                  <c:v>176.66264144192399</c:v>
                </c:pt>
                <c:pt idx="323">
                  <c:v>177.560010788456</c:v>
                </c:pt>
                <c:pt idx="324">
                  <c:v>101.408450704225</c:v>
                </c:pt>
                <c:pt idx="325">
                  <c:v>124.569668418191</c:v>
                </c:pt>
                <c:pt idx="326">
                  <c:v>36.509675063891002</c:v>
                </c:pt>
                <c:pt idx="327">
                  <c:v>43.448433569631</c:v>
                </c:pt>
                <c:pt idx="328">
                  <c:v>34.352456200618001</c:v>
                </c:pt>
                <c:pt idx="329">
                  <c:v>98.934726088857005</c:v>
                </c:pt>
                <c:pt idx="330">
                  <c:v>187.28756734259699</c:v>
                </c:pt>
                <c:pt idx="331">
                  <c:v>169.68851696885099</c:v>
                </c:pt>
                <c:pt idx="332">
                  <c:v>102.885469765701</c:v>
                </c:pt>
                <c:pt idx="333">
                  <c:v>141.35607595533099</c:v>
                </c:pt>
                <c:pt idx="334">
                  <c:v>16.553159288686999</c:v>
                </c:pt>
                <c:pt idx="335">
                  <c:v>52.151238591915998</c:v>
                </c:pt>
                <c:pt idx="336">
                  <c:v>116.90046760187001</c:v>
                </c:pt>
                <c:pt idx="337">
                  <c:v>127.253955677207</c:v>
                </c:pt>
                <c:pt idx="338">
                  <c:v>113.564973662591</c:v>
                </c:pt>
                <c:pt idx="339">
                  <c:v>130.966239813736</c:v>
                </c:pt>
                <c:pt idx="340">
                  <c:v>72.898695113356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B-4754-90A8-6FC4E50C7F8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C$2:$C$342</c:f>
              <c:numCache>
                <c:formatCode>General</c:formatCode>
                <c:ptCount val="3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81749772122499997</c:v>
                </c:pt>
                <c:pt idx="9">
                  <c:v>0.81752779594500002</c:v>
                </c:pt>
                <c:pt idx="10">
                  <c:v>1.22633179633</c:v>
                </c:pt>
                <c:pt idx="11">
                  <c:v>2.4527538293609998</c:v>
                </c:pt>
                <c:pt idx="12">
                  <c:v>0.40880567422199998</c:v>
                </c:pt>
                <c:pt idx="13">
                  <c:v>0</c:v>
                </c:pt>
                <c:pt idx="14">
                  <c:v>1.226502260852</c:v>
                </c:pt>
                <c:pt idx="15">
                  <c:v>2.4530847540780001</c:v>
                </c:pt>
                <c:pt idx="16">
                  <c:v>0.81772500725700004</c:v>
                </c:pt>
                <c:pt idx="17">
                  <c:v>4.0887587754980004</c:v>
                </c:pt>
                <c:pt idx="18">
                  <c:v>2.862224766422</c:v>
                </c:pt>
                <c:pt idx="19">
                  <c:v>1.63561720015</c:v>
                </c:pt>
                <c:pt idx="20">
                  <c:v>0.408917676693</c:v>
                </c:pt>
                <c:pt idx="21">
                  <c:v>3.6803945382940002</c:v>
                </c:pt>
                <c:pt idx="22">
                  <c:v>5.7252454698989999</c:v>
                </c:pt>
                <c:pt idx="23">
                  <c:v>5.7254561961699997</c:v>
                </c:pt>
                <c:pt idx="24">
                  <c:v>4.498719909698</c:v>
                </c:pt>
                <c:pt idx="25">
                  <c:v>8.5887462884340007</c:v>
                </c:pt>
                <c:pt idx="26">
                  <c:v>3.681026761064</c:v>
                </c:pt>
                <c:pt idx="27">
                  <c:v>4.4991799222050002</c:v>
                </c:pt>
                <c:pt idx="28">
                  <c:v>8.1797918242980003</c:v>
                </c:pt>
                <c:pt idx="29">
                  <c:v>5.3165385244559999</c:v>
                </c:pt>
                <c:pt idx="30">
                  <c:v>7.7698171230410003</c:v>
                </c:pt>
                <c:pt idx="31">
                  <c:v>4.4978737324170002</c:v>
                </c:pt>
                <c:pt idx="32">
                  <c:v>6.541693071938</c:v>
                </c:pt>
                <c:pt idx="33">
                  <c:v>3.679341316141</c:v>
                </c:pt>
                <c:pt idx="34">
                  <c:v>1.635102377847</c:v>
                </c:pt>
                <c:pt idx="35">
                  <c:v>5.7222969299870003</c:v>
                </c:pt>
                <c:pt idx="36">
                  <c:v>6.9477934625350004</c:v>
                </c:pt>
                <c:pt idx="37">
                  <c:v>2.4519218981140001</c:v>
                </c:pt>
                <c:pt idx="38">
                  <c:v>6.1292036121429998</c:v>
                </c:pt>
                <c:pt idx="39">
                  <c:v>6.5371761033520004</c:v>
                </c:pt>
                <c:pt idx="40">
                  <c:v>2.859734126432</c:v>
                </c:pt>
                <c:pt idx="41">
                  <c:v>3.267933808</c:v>
                </c:pt>
                <c:pt idx="42">
                  <c:v>8.1690336441649993</c:v>
                </c:pt>
                <c:pt idx="43">
                  <c:v>4.4925281089310003</c:v>
                </c:pt>
                <c:pt idx="44">
                  <c:v>3.26697294538</c:v>
                </c:pt>
                <c:pt idx="45">
                  <c:v>5.3082890975900003</c:v>
                </c:pt>
                <c:pt idx="46">
                  <c:v>6.5326386960849998</c:v>
                </c:pt>
                <c:pt idx="47">
                  <c:v>1.224749742802</c:v>
                </c:pt>
                <c:pt idx="48">
                  <c:v>1.6328396714719999</c:v>
                </c:pt>
                <c:pt idx="49">
                  <c:v>5.714379010269</c:v>
                </c:pt>
                <c:pt idx="50">
                  <c:v>5.7137959603460002</c:v>
                </c:pt>
                <c:pt idx="51">
                  <c:v>6.5294129649650001</c:v>
                </c:pt>
                <c:pt idx="52">
                  <c:v>4.0804834556790004</c:v>
                </c:pt>
                <c:pt idx="53">
                  <c:v>3.2640671092189999</c:v>
                </c:pt>
                <c:pt idx="54">
                  <c:v>3.2637342014859998</c:v>
                </c:pt>
                <c:pt idx="55">
                  <c:v>1.6317073369720001</c:v>
                </c:pt>
                <c:pt idx="56">
                  <c:v>4.0788690112000001</c:v>
                </c:pt>
                <c:pt idx="57">
                  <c:v>2.4470818548879998</c:v>
                </c:pt>
                <c:pt idx="58">
                  <c:v>4.8936647431839999</c:v>
                </c:pt>
                <c:pt idx="59">
                  <c:v>2.038652858191</c:v>
                </c:pt>
                <c:pt idx="60">
                  <c:v>1.2229623409120001</c:v>
                </c:pt>
                <c:pt idx="61">
                  <c:v>3.6681991587590002</c:v>
                </c:pt>
                <c:pt idx="62">
                  <c:v>0.40750294420799998</c:v>
                </c:pt>
                <c:pt idx="63">
                  <c:v>1.222279714638</c:v>
                </c:pt>
                <c:pt idx="64">
                  <c:v>3.6661520475449998</c:v>
                </c:pt>
                <c:pt idx="65">
                  <c:v>2.850928995576</c:v>
                </c:pt>
                <c:pt idx="66">
                  <c:v>4.0719928332919997</c:v>
                </c:pt>
                <c:pt idx="67">
                  <c:v>2.035615122177</c:v>
                </c:pt>
                <c:pt idx="68">
                  <c:v>2.0352339704969999</c:v>
                </c:pt>
                <c:pt idx="69">
                  <c:v>0.81394449712399997</c:v>
                </c:pt>
                <c:pt idx="70">
                  <c:v>3.6620646720619998</c:v>
                </c:pt>
                <c:pt idx="71">
                  <c:v>2.0340996464729999</c:v>
                </c:pt>
                <c:pt idx="72">
                  <c:v>2.0337273341080002</c:v>
                </c:pt>
                <c:pt idx="73">
                  <c:v>2.4400162667749998</c:v>
                </c:pt>
                <c:pt idx="74">
                  <c:v>2.0329665861609998</c:v>
                </c:pt>
                <c:pt idx="75">
                  <c:v>2.4391037106889999</c:v>
                </c:pt>
                <c:pt idx="76">
                  <c:v>1.6257717335190001</c:v>
                </c:pt>
                <c:pt idx="77">
                  <c:v>2.8445687024290001</c:v>
                </c:pt>
                <c:pt idx="78">
                  <c:v>2.8440370699909998</c:v>
                </c:pt>
                <c:pt idx="79">
                  <c:v>4.8746008920510002</c:v>
                </c:pt>
                <c:pt idx="80">
                  <c:v>1.624563398586</c:v>
                </c:pt>
                <c:pt idx="81">
                  <c:v>2.0303249332019999</c:v>
                </c:pt>
                <c:pt idx="82">
                  <c:v>0.40598915196899998</c:v>
                </c:pt>
                <c:pt idx="83">
                  <c:v>0.40591499328199998</c:v>
                </c:pt>
                <c:pt idx="84">
                  <c:v>2.8408745023390001</c:v>
                </c:pt>
                <c:pt idx="85">
                  <c:v>2.840344249723</c:v>
                </c:pt>
                <c:pt idx="86">
                  <c:v>1.2170681639300001</c:v>
                </c:pt>
                <c:pt idx="87">
                  <c:v>4.0561369351819998</c:v>
                </c:pt>
                <c:pt idx="88">
                  <c:v>2.4332281638039999</c:v>
                </c:pt>
                <c:pt idx="89">
                  <c:v>0.81097081315999997</c:v>
                </c:pt>
                <c:pt idx="90">
                  <c:v>1.6220271284029999</c:v>
                </c:pt>
                <c:pt idx="91">
                  <c:v>2.8387086308899998</c:v>
                </c:pt>
                <c:pt idx="92">
                  <c:v>4.4610630307649997</c:v>
                </c:pt>
                <c:pt idx="93">
                  <c:v>3.2445936957539998</c:v>
                </c:pt>
                <c:pt idx="94">
                  <c:v>1.216786790562</c:v>
                </c:pt>
                <c:pt idx="95">
                  <c:v>1.622474517009</c:v>
                </c:pt>
                <c:pt idx="96">
                  <c:v>0</c:v>
                </c:pt>
                <c:pt idx="97">
                  <c:v>0</c:v>
                </c:pt>
                <c:pt idx="98">
                  <c:v>1.622737802082</c:v>
                </c:pt>
                <c:pt idx="99">
                  <c:v>1.217117541098</c:v>
                </c:pt>
                <c:pt idx="100">
                  <c:v>2.4343733517259998</c:v>
                </c:pt>
                <c:pt idx="101">
                  <c:v>2.4345017589269999</c:v>
                </c:pt>
                <c:pt idx="102">
                  <c:v>0.81154668625100002</c:v>
                </c:pt>
                <c:pt idx="103">
                  <c:v>0.811589498031</c:v>
                </c:pt>
                <c:pt idx="104">
                  <c:v>0.405817804038</c:v>
                </c:pt>
                <c:pt idx="105">
                  <c:v>2.8408745023390001</c:v>
                </c:pt>
                <c:pt idx="106">
                  <c:v>1.217586824087</c:v>
                </c:pt>
                <c:pt idx="107">
                  <c:v>1.217651069909</c:v>
                </c:pt>
                <c:pt idx="108">
                  <c:v>1.6236270204000001</c:v>
                </c:pt>
                <c:pt idx="109">
                  <c:v>0.405928175068</c:v>
                </c:pt>
                <c:pt idx="110">
                  <c:v>0.40594959729699998</c:v>
                </c:pt>
                <c:pt idx="111">
                  <c:v>0</c:v>
                </c:pt>
                <c:pt idx="112">
                  <c:v>1.2179822905369999</c:v>
                </c:pt>
                <c:pt idx="113">
                  <c:v>0.812034349052</c:v>
                </c:pt>
                <c:pt idx="114">
                  <c:v>0.40603860614999998</c:v>
                </c:pt>
                <c:pt idx="115">
                  <c:v>1.218185066675</c:v>
                </c:pt>
                <c:pt idx="116">
                  <c:v>1.624332500862</c:v>
                </c:pt>
                <c:pt idx="117">
                  <c:v>0.40610621301799998</c:v>
                </c:pt>
                <c:pt idx="118">
                  <c:v>0</c:v>
                </c:pt>
                <c:pt idx="119">
                  <c:v>0.81229819466700004</c:v>
                </c:pt>
                <c:pt idx="120">
                  <c:v>0</c:v>
                </c:pt>
                <c:pt idx="121">
                  <c:v>0</c:v>
                </c:pt>
                <c:pt idx="122">
                  <c:v>1.218521527213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40620684052299999</c:v>
                </c:pt>
                <c:pt idx="127">
                  <c:v>0.40621344078999999</c:v>
                </c:pt>
                <c:pt idx="128">
                  <c:v>0</c:v>
                </c:pt>
                <c:pt idx="129">
                  <c:v>0</c:v>
                </c:pt>
                <c:pt idx="131">
                  <c:v>0.40624644534299997</c:v>
                </c:pt>
                <c:pt idx="132">
                  <c:v>0.40625469731899999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406302565394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40637521436200003</c:v>
                </c:pt>
                <c:pt idx="148">
                  <c:v>0</c:v>
                </c:pt>
                <c:pt idx="150">
                  <c:v>0.40637356296100002</c:v>
                </c:pt>
                <c:pt idx="151">
                  <c:v>0.812694284727</c:v>
                </c:pt>
                <c:pt idx="153">
                  <c:v>0.40629596222999997</c:v>
                </c:pt>
                <c:pt idx="154">
                  <c:v>0.81253910344400004</c:v>
                </c:pt>
                <c:pt idx="155">
                  <c:v>0</c:v>
                </c:pt>
                <c:pt idx="156">
                  <c:v>0.406218391131</c:v>
                </c:pt>
                <c:pt idx="157">
                  <c:v>1.2185759721180001</c:v>
                </c:pt>
                <c:pt idx="158">
                  <c:v>0.81233118742499999</c:v>
                </c:pt>
                <c:pt idx="159">
                  <c:v>0</c:v>
                </c:pt>
                <c:pt idx="161">
                  <c:v>2.0304403619050002</c:v>
                </c:pt>
                <c:pt idx="162">
                  <c:v>0.406063337759</c:v>
                </c:pt>
                <c:pt idx="163">
                  <c:v>1.6241478299350001</c:v>
                </c:pt>
                <c:pt idx="164">
                  <c:v>0.40601058063500001</c:v>
                </c:pt>
                <c:pt idx="165">
                  <c:v>2.0299292772630002</c:v>
                </c:pt>
                <c:pt idx="166">
                  <c:v>0</c:v>
                </c:pt>
                <c:pt idx="167">
                  <c:v>0.40593311845899999</c:v>
                </c:pt>
                <c:pt idx="168">
                  <c:v>2.0295420135489999</c:v>
                </c:pt>
                <c:pt idx="169">
                  <c:v>2.029410212803</c:v>
                </c:pt>
                <c:pt idx="170">
                  <c:v>0.81171137166999996</c:v>
                </c:pt>
                <c:pt idx="171">
                  <c:v>2.029154897568</c:v>
                </c:pt>
                <c:pt idx="172">
                  <c:v>1.217413888257</c:v>
                </c:pt>
                <c:pt idx="173">
                  <c:v>0.40577828274599997</c:v>
                </c:pt>
                <c:pt idx="174">
                  <c:v>0</c:v>
                </c:pt>
                <c:pt idx="175">
                  <c:v>2.0286362290079998</c:v>
                </c:pt>
                <c:pt idx="176">
                  <c:v>1.2171027275270001</c:v>
                </c:pt>
                <c:pt idx="177">
                  <c:v>0.81135244338699997</c:v>
                </c:pt>
                <c:pt idx="178">
                  <c:v>0.40564989169100002</c:v>
                </c:pt>
                <c:pt idx="179">
                  <c:v>0.81124713021299999</c:v>
                </c:pt>
                <c:pt idx="180">
                  <c:v>0.40559724193800001</c:v>
                </c:pt>
                <c:pt idx="181">
                  <c:v>0.40561533874900002</c:v>
                </c:pt>
                <c:pt idx="182">
                  <c:v>0.81126687435</c:v>
                </c:pt>
                <c:pt idx="183">
                  <c:v>1.6225995667649999</c:v>
                </c:pt>
                <c:pt idx="184">
                  <c:v>1.622671972804</c:v>
                </c:pt>
                <c:pt idx="185">
                  <c:v>1.2170533515619999</c:v>
                </c:pt>
                <c:pt idx="186">
                  <c:v>0.405702555114</c:v>
                </c:pt>
                <c:pt idx="187">
                  <c:v>0</c:v>
                </c:pt>
                <c:pt idx="188">
                  <c:v>0.81147424583600003</c:v>
                </c:pt>
                <c:pt idx="189">
                  <c:v>1.2172607575409999</c:v>
                </c:pt>
                <c:pt idx="190">
                  <c:v>0.81154339322500002</c:v>
                </c:pt>
                <c:pt idx="191">
                  <c:v>1.623159235978</c:v>
                </c:pt>
                <c:pt idx="192">
                  <c:v>0.81161255239899999</c:v>
                </c:pt>
                <c:pt idx="193">
                  <c:v>1.217473175007</c:v>
                </c:pt>
                <c:pt idx="194">
                  <c:v>0.40584086168099998</c:v>
                </c:pt>
                <c:pt idx="195">
                  <c:v>0.40585898023799999</c:v>
                </c:pt>
                <c:pt idx="196">
                  <c:v>1.2176263591750001</c:v>
                </c:pt>
                <c:pt idx="197">
                  <c:v>0.405893574704</c:v>
                </c:pt>
                <c:pt idx="198">
                  <c:v>0</c:v>
                </c:pt>
                <c:pt idx="199">
                  <c:v>1.217784525206</c:v>
                </c:pt>
                <c:pt idx="200">
                  <c:v>0.40594465350499997</c:v>
                </c:pt>
                <c:pt idx="201">
                  <c:v>0.40596278133199998</c:v>
                </c:pt>
                <c:pt idx="202">
                  <c:v>0.81196182155499996</c:v>
                </c:pt>
                <c:pt idx="203">
                  <c:v>1.623989573986</c:v>
                </c:pt>
                <c:pt idx="204">
                  <c:v>1.2180465781009999</c:v>
                </c:pt>
                <c:pt idx="205">
                  <c:v>1.6241280462550001</c:v>
                </c:pt>
                <c:pt idx="206">
                  <c:v>0.40605014719299998</c:v>
                </c:pt>
                <c:pt idx="207">
                  <c:v>1.2181999066039999</c:v>
                </c:pt>
                <c:pt idx="208">
                  <c:v>0.40608477425700001</c:v>
                </c:pt>
                <c:pt idx="209">
                  <c:v>0</c:v>
                </c:pt>
                <c:pt idx="210">
                  <c:v>0.406119407228</c:v>
                </c:pt>
                <c:pt idx="211">
                  <c:v>2.4368154071710002</c:v>
                </c:pt>
                <c:pt idx="212">
                  <c:v>2.0304980811790001</c:v>
                </c:pt>
                <c:pt idx="213">
                  <c:v>1.6242533510370001</c:v>
                </c:pt>
                <c:pt idx="214">
                  <c:v>3.248216526113</c:v>
                </c:pt>
                <c:pt idx="215">
                  <c:v>1.2179724007449999</c:v>
                </c:pt>
                <c:pt idx="216">
                  <c:v>0.81190908242000004</c:v>
                </c:pt>
                <c:pt idx="217">
                  <c:v>1.2177548659449999</c:v>
                </c:pt>
                <c:pt idx="218">
                  <c:v>2.8411627661560002</c:v>
                </c:pt>
                <c:pt idx="219">
                  <c:v>0.40584415584400002</c:v>
                </c:pt>
                <c:pt idx="220">
                  <c:v>1.6232316919750001</c:v>
                </c:pt>
                <c:pt idx="221">
                  <c:v>1.62308678645</c:v>
                </c:pt>
                <c:pt idx="222">
                  <c:v>1.2172064300950001</c:v>
                </c:pt>
                <c:pt idx="223">
                  <c:v>1.2170977897499999</c:v>
                </c:pt>
                <c:pt idx="224">
                  <c:v>2.8396298745280002</c:v>
                </c:pt>
                <c:pt idx="225">
                  <c:v>2.4337512625079998</c:v>
                </c:pt>
                <c:pt idx="226">
                  <c:v>2.0279533084030001</c:v>
                </c:pt>
                <c:pt idx="227">
                  <c:v>4.0555282933930004</c:v>
                </c:pt>
                <c:pt idx="228">
                  <c:v>1.2165647455749999</c:v>
                </c:pt>
                <c:pt idx="229">
                  <c:v>1.216441422263</c:v>
                </c:pt>
                <c:pt idx="230">
                  <c:v>1.621770649194</c:v>
                </c:pt>
                <c:pt idx="231">
                  <c:v>3.2465819579319999</c:v>
                </c:pt>
                <c:pt idx="232">
                  <c:v>4.0625469731989998</c:v>
                </c:pt>
                <c:pt idx="233">
                  <c:v>3.253183036277</c:v>
                </c:pt>
                <c:pt idx="234">
                  <c:v>3.257859586251</c:v>
                </c:pt>
                <c:pt idx="235">
                  <c:v>2.4460044517280002</c:v>
                </c:pt>
                <c:pt idx="236">
                  <c:v>1.6308291951039999</c:v>
                </c:pt>
                <c:pt idx="237">
                  <c:v>1.6310153886300001</c:v>
                </c:pt>
                <c:pt idx="238">
                  <c:v>4.9023813317310001</c:v>
                </c:pt>
                <c:pt idx="239">
                  <c:v>4.0855180641180002</c:v>
                </c:pt>
                <c:pt idx="240">
                  <c:v>4.0978064442099997</c:v>
                </c:pt>
                <c:pt idx="241">
                  <c:v>7.3982433282229998</c:v>
                </c:pt>
                <c:pt idx="242">
                  <c:v>1.6536032013749999</c:v>
                </c:pt>
                <c:pt idx="243">
                  <c:v>2.8945474995240001</c:v>
                </c:pt>
                <c:pt idx="244">
                  <c:v>4.1358203399639999</c:v>
                </c:pt>
                <c:pt idx="245">
                  <c:v>4.1529791395849998</c:v>
                </c:pt>
                <c:pt idx="246">
                  <c:v>4.5895291977500001</c:v>
                </c:pt>
                <c:pt idx="247">
                  <c:v>5.456270093763</c:v>
                </c:pt>
                <c:pt idx="248">
                  <c:v>8.4386405350090001</c:v>
                </c:pt>
                <c:pt idx="249">
                  <c:v>6.8221258596940002</c:v>
                </c:pt>
                <c:pt idx="250">
                  <c:v>2.5608959721370002</c:v>
                </c:pt>
                <c:pt idx="251">
                  <c:v>2.134982108849</c:v>
                </c:pt>
                <c:pt idx="252">
                  <c:v>9.4422627094999996</c:v>
                </c:pt>
                <c:pt idx="253">
                  <c:v>14.245998169605</c:v>
                </c:pt>
                <c:pt idx="254">
                  <c:v>13.899929197235</c:v>
                </c:pt>
                <c:pt idx="255">
                  <c:v>10.062122670399001</c:v>
                </c:pt>
                <c:pt idx="256">
                  <c:v>11.043866236692001</c:v>
                </c:pt>
                <c:pt idx="257">
                  <c:v>6.193676256542</c:v>
                </c:pt>
                <c:pt idx="258">
                  <c:v>7.083658000991</c:v>
                </c:pt>
                <c:pt idx="259">
                  <c:v>17.373175816539</c:v>
                </c:pt>
                <c:pt idx="260">
                  <c:v>25.112332846034001</c:v>
                </c:pt>
                <c:pt idx="261">
                  <c:v>19.897257796106999</c:v>
                </c:pt>
                <c:pt idx="262">
                  <c:v>28.780659396885</c:v>
                </c:pt>
                <c:pt idx="263">
                  <c:v>24.551586125111001</c:v>
                </c:pt>
                <c:pt idx="264">
                  <c:v>19.961747720645999</c:v>
                </c:pt>
                <c:pt idx="265">
                  <c:v>12.085434727031</c:v>
                </c:pt>
                <c:pt idx="266">
                  <c:v>49.710879648084003</c:v>
                </c:pt>
                <c:pt idx="267">
                  <c:v>45.451747761737998</c:v>
                </c:pt>
                <c:pt idx="268">
                  <c:v>38.436406964676003</c:v>
                </c:pt>
                <c:pt idx="269">
                  <c:v>24.065998594545</c:v>
                </c:pt>
                <c:pt idx="270">
                  <c:v>50.568654241688002</c:v>
                </c:pt>
                <c:pt idx="271">
                  <c:v>32.632465894201999</c:v>
                </c:pt>
                <c:pt idx="272">
                  <c:v>28.293373009096999</c:v>
                </c:pt>
                <c:pt idx="273">
                  <c:v>85.577277757285003</c:v>
                </c:pt>
                <c:pt idx="274">
                  <c:v>70.013406822582994</c:v>
                </c:pt>
                <c:pt idx="275">
                  <c:v>66.796912275061999</c:v>
                </c:pt>
                <c:pt idx="276">
                  <c:v>70.846075433230993</c:v>
                </c:pt>
                <c:pt idx="277">
                  <c:v>85.733436559853999</c:v>
                </c:pt>
                <c:pt idx="278">
                  <c:v>47.938388749067997</c:v>
                </c:pt>
                <c:pt idx="279">
                  <c:v>29.226489637642999</c:v>
                </c:pt>
                <c:pt idx="280">
                  <c:v>94.252691993786001</c:v>
                </c:pt>
                <c:pt idx="281">
                  <c:v>102.086390608052</c:v>
                </c:pt>
                <c:pt idx="282">
                  <c:v>107.034132593238</c:v>
                </c:pt>
                <c:pt idx="283">
                  <c:v>75.064865835150997</c:v>
                </c:pt>
                <c:pt idx="284">
                  <c:v>103.083070545398</c:v>
                </c:pt>
                <c:pt idx="285">
                  <c:v>78.868295500618999</c:v>
                </c:pt>
                <c:pt idx="286">
                  <c:v>43.382500166855003</c:v>
                </c:pt>
                <c:pt idx="287">
                  <c:v>106.57930902951099</c:v>
                </c:pt>
                <c:pt idx="288">
                  <c:v>139.86570617967601</c:v>
                </c:pt>
                <c:pt idx="289">
                  <c:v>91.157702825887995</c:v>
                </c:pt>
                <c:pt idx="290">
                  <c:v>119.77427156512699</c:v>
                </c:pt>
                <c:pt idx="291">
                  <c:v>141.66212996622301</c:v>
                </c:pt>
                <c:pt idx="292">
                  <c:v>94.530167453439006</c:v>
                </c:pt>
                <c:pt idx="293">
                  <c:v>65.847492503967999</c:v>
                </c:pt>
                <c:pt idx="294">
                  <c:v>141.18261199696201</c:v>
                </c:pt>
                <c:pt idx="295">
                  <c:v>163.12920192636301</c:v>
                </c:pt>
                <c:pt idx="296">
                  <c:v>113.357378837935</c:v>
                </c:pt>
                <c:pt idx="297">
                  <c:v>160.712533123957</c:v>
                </c:pt>
                <c:pt idx="298">
                  <c:v>129.66187690264701</c:v>
                </c:pt>
                <c:pt idx="299">
                  <c:v>87.989994280649995</c:v>
                </c:pt>
                <c:pt idx="300">
                  <c:v>71.850852756172998</c:v>
                </c:pt>
                <c:pt idx="301">
                  <c:v>149.01231580422001</c:v>
                </c:pt>
                <c:pt idx="302">
                  <c:v>118.487990211861</c:v>
                </c:pt>
                <c:pt idx="303">
                  <c:v>123.055687581792</c:v>
                </c:pt>
                <c:pt idx="304">
                  <c:v>98.326470277688998</c:v>
                </c:pt>
                <c:pt idx="305">
                  <c:v>121.70467684027599</c:v>
                </c:pt>
                <c:pt idx="306">
                  <c:v>71.263743722002999</c:v>
                </c:pt>
                <c:pt idx="307">
                  <c:v>51.707011742934</c:v>
                </c:pt>
                <c:pt idx="308">
                  <c:v>139.57453830392799</c:v>
                </c:pt>
                <c:pt idx="309">
                  <c:v>119.669656088889</c:v>
                </c:pt>
                <c:pt idx="310">
                  <c:v>97.996362149432997</c:v>
                </c:pt>
                <c:pt idx="311">
                  <c:v>90.043092051195003</c:v>
                </c:pt>
                <c:pt idx="312">
                  <c:v>84.730287425586994</c:v>
                </c:pt>
                <c:pt idx="313">
                  <c:v>65.315348372987003</c:v>
                </c:pt>
                <c:pt idx="314">
                  <c:v>55.937467799155002</c:v>
                </c:pt>
                <c:pt idx="315">
                  <c:v>78.783464391359999</c:v>
                </c:pt>
                <c:pt idx="316">
                  <c:v>103.63783832497199</c:v>
                </c:pt>
                <c:pt idx="317">
                  <c:v>60.006684288881999</c:v>
                </c:pt>
                <c:pt idx="318">
                  <c:v>56.196642058182</c:v>
                </c:pt>
                <c:pt idx="319">
                  <c:v>61.930183517163996</c:v>
                </c:pt>
                <c:pt idx="320">
                  <c:v>45.633000527138996</c:v>
                </c:pt>
                <c:pt idx="321">
                  <c:v>30.767288849618001</c:v>
                </c:pt>
                <c:pt idx="322">
                  <c:v>79.690164639879995</c:v>
                </c:pt>
                <c:pt idx="323">
                  <c:v>74.858734323937</c:v>
                </c:pt>
                <c:pt idx="324">
                  <c:v>39.791783402764999</c:v>
                </c:pt>
                <c:pt idx="325">
                  <c:v>61.945243664876003</c:v>
                </c:pt>
                <c:pt idx="326">
                  <c:v>20.380545546442999</c:v>
                </c:pt>
                <c:pt idx="327">
                  <c:v>13.860804905094</c:v>
                </c:pt>
                <c:pt idx="328">
                  <c:v>18.758359703781</c:v>
                </c:pt>
                <c:pt idx="329">
                  <c:v>69.859377183104996</c:v>
                </c:pt>
                <c:pt idx="330">
                  <c:v>77.082469954413</c:v>
                </c:pt>
                <c:pt idx="331">
                  <c:v>33.460483169375998</c:v>
                </c:pt>
                <c:pt idx="332">
                  <c:v>60.696492248551998</c:v>
                </c:pt>
                <c:pt idx="333">
                  <c:v>46.45074110046</c:v>
                </c:pt>
                <c:pt idx="334">
                  <c:v>14.367816091953999</c:v>
                </c:pt>
                <c:pt idx="335">
                  <c:v>29.642427630130001</c:v>
                </c:pt>
                <c:pt idx="336">
                  <c:v>90.595967624761002</c:v>
                </c:pt>
                <c:pt idx="337">
                  <c:v>74.330164217803997</c:v>
                </c:pt>
                <c:pt idx="338">
                  <c:v>54.220449854828999</c:v>
                </c:pt>
                <c:pt idx="339">
                  <c:v>45.221184795040998</c:v>
                </c:pt>
                <c:pt idx="340">
                  <c:v>47.129624594413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0B-4754-90A8-6FC4E50C7F8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42</c:f>
              <c:numCache>
                <c:formatCode>m/d/yyyy</c:formatCode>
                <c:ptCount val="341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</c:numCache>
            </c:numRef>
          </c:cat>
          <c:val>
            <c:numRef>
              <c:f>List1!$D$2:$D$342</c:f>
              <c:numCache>
                <c:formatCode>General</c:formatCode>
                <c:ptCount val="341"/>
                <c:pt idx="226">
                  <c:v>0</c:v>
                </c:pt>
                <c:pt idx="228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3.871549452072999</c:v>
                </c:pt>
                <c:pt idx="247">
                  <c:v>11.598237067965</c:v>
                </c:pt>
                <c:pt idx="248">
                  <c:v>0</c:v>
                </c:pt>
                <c:pt idx="249">
                  <c:v>0</c:v>
                </c:pt>
                <c:pt idx="250">
                  <c:v>7.9541839007309996</c:v>
                </c:pt>
                <c:pt idx="251">
                  <c:v>0</c:v>
                </c:pt>
                <c:pt idx="252">
                  <c:v>0</c:v>
                </c:pt>
                <c:pt idx="253">
                  <c:v>6.5759189846780002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4.8090795421749997</c:v>
                </c:pt>
                <c:pt idx="258">
                  <c:v>0</c:v>
                </c:pt>
                <c:pt idx="259">
                  <c:v>4.4768769306529999</c:v>
                </c:pt>
                <c:pt idx="260">
                  <c:v>8.397010664203</c:v>
                </c:pt>
                <c:pt idx="261">
                  <c:v>11.684518013630999</c:v>
                </c:pt>
                <c:pt idx="262">
                  <c:v>0</c:v>
                </c:pt>
                <c:pt idx="263">
                  <c:v>6.4662140316840002</c:v>
                </c:pt>
                <c:pt idx="264">
                  <c:v>6.3724709256010001</c:v>
                </c:pt>
                <c:pt idx="265">
                  <c:v>0</c:v>
                </c:pt>
                <c:pt idx="266">
                  <c:v>17.881623651426999</c:v>
                </c:pt>
                <c:pt idx="267">
                  <c:v>11.24574770165</c:v>
                </c:pt>
                <c:pt idx="268">
                  <c:v>15.527548458889999</c:v>
                </c:pt>
                <c:pt idx="269">
                  <c:v>10.253781081773001</c:v>
                </c:pt>
                <c:pt idx="270">
                  <c:v>26.760083686079</c:v>
                </c:pt>
                <c:pt idx="271">
                  <c:v>14.477017734345999</c:v>
                </c:pt>
                <c:pt idx="272">
                  <c:v>9.5778559969349999</c:v>
                </c:pt>
                <c:pt idx="273">
                  <c:v>29.936672423718999</c:v>
                </c:pt>
                <c:pt idx="274">
                  <c:v>15.434820956076001</c:v>
                </c:pt>
                <c:pt idx="275">
                  <c:v>18.898431430191</c:v>
                </c:pt>
                <c:pt idx="276">
                  <c:v>13.854253255749001</c:v>
                </c:pt>
                <c:pt idx="277">
                  <c:v>29.487108604705998</c:v>
                </c:pt>
                <c:pt idx="278">
                  <c:v>21.899009069839</c:v>
                </c:pt>
                <c:pt idx="279">
                  <c:v>7.2601869498129998</c:v>
                </c:pt>
                <c:pt idx="280">
                  <c:v>29.940647070219001</c:v>
                </c:pt>
                <c:pt idx="281">
                  <c:v>47.773417505544998</c:v>
                </c:pt>
                <c:pt idx="282">
                  <c:v>27.980775561261002</c:v>
                </c:pt>
                <c:pt idx="283">
                  <c:v>30.240812363717001</c:v>
                </c:pt>
                <c:pt idx="284">
                  <c:v>46.810117025292001</c:v>
                </c:pt>
                <c:pt idx="285">
                  <c:v>18.016124431365999</c:v>
                </c:pt>
                <c:pt idx="286">
                  <c:v>11.967090501121</c:v>
                </c:pt>
                <c:pt idx="287">
                  <c:v>54.119677622243998</c:v>
                </c:pt>
                <c:pt idx="288">
                  <c:v>57.952987405826001</c:v>
                </c:pt>
                <c:pt idx="289">
                  <c:v>26.722173778515</c:v>
                </c:pt>
                <c:pt idx="290">
                  <c:v>30.155988705211001</c:v>
                </c:pt>
                <c:pt idx="291">
                  <c:v>59.384773744012001</c:v>
                </c:pt>
                <c:pt idx="292">
                  <c:v>20.974804016674</c:v>
                </c:pt>
                <c:pt idx="293">
                  <c:v>19.607843137254001</c:v>
                </c:pt>
                <c:pt idx="294">
                  <c:v>44.868343460759</c:v>
                </c:pt>
                <c:pt idx="295">
                  <c:v>56.366255401765997</c:v>
                </c:pt>
                <c:pt idx="296">
                  <c:v>31.862354628007001</c:v>
                </c:pt>
                <c:pt idx="297">
                  <c:v>55.067397706323</c:v>
                </c:pt>
                <c:pt idx="298">
                  <c:v>40.274325692718001</c:v>
                </c:pt>
                <c:pt idx="299">
                  <c:v>28.593322887239001</c:v>
                </c:pt>
                <c:pt idx="300">
                  <c:v>26.174435542607</c:v>
                </c:pt>
                <c:pt idx="301">
                  <c:v>50.283824252446998</c:v>
                </c:pt>
                <c:pt idx="302">
                  <c:v>40.557723505940999</c:v>
                </c:pt>
                <c:pt idx="303">
                  <c:v>49.512943329206998</c:v>
                </c:pt>
                <c:pt idx="304">
                  <c:v>43.184259863915997</c:v>
                </c:pt>
                <c:pt idx="305">
                  <c:v>45.656077838538998</c:v>
                </c:pt>
                <c:pt idx="306">
                  <c:v>22.198454180372</c:v>
                </c:pt>
                <c:pt idx="307">
                  <c:v>24.133215348724001</c:v>
                </c:pt>
                <c:pt idx="308">
                  <c:v>51.499425583330002</c:v>
                </c:pt>
                <c:pt idx="309">
                  <c:v>41.882165015730003</c:v>
                </c:pt>
                <c:pt idx="310">
                  <c:v>30.610292710924</c:v>
                </c:pt>
                <c:pt idx="311">
                  <c:v>37.582328789003</c:v>
                </c:pt>
                <c:pt idx="312">
                  <c:v>26.497327424733001</c:v>
                </c:pt>
                <c:pt idx="313">
                  <c:v>15.444436368922</c:v>
                </c:pt>
                <c:pt idx="314">
                  <c:v>9.0537065874760003</c:v>
                </c:pt>
                <c:pt idx="315">
                  <c:v>39.371487884319002</c:v>
                </c:pt>
                <c:pt idx="316">
                  <c:v>38.009369751613001</c:v>
                </c:pt>
                <c:pt idx="317">
                  <c:v>34.898532516707</c:v>
                </c:pt>
                <c:pt idx="318">
                  <c:v>15.470031111951</c:v>
                </c:pt>
                <c:pt idx="319">
                  <c:v>32.019953486803999</c:v>
                </c:pt>
                <c:pt idx="320">
                  <c:v>15.950034418494999</c:v>
                </c:pt>
                <c:pt idx="321">
                  <c:v>14.232015337089001</c:v>
                </c:pt>
                <c:pt idx="322">
                  <c:v>26.510915040800999</c:v>
                </c:pt>
                <c:pt idx="323">
                  <c:v>29.522473983318999</c:v>
                </c:pt>
                <c:pt idx="324">
                  <c:v>17.883561755190001</c:v>
                </c:pt>
                <c:pt idx="325">
                  <c:v>19.440439353929001</c:v>
                </c:pt>
                <c:pt idx="326">
                  <c:v>5.669806659592</c:v>
                </c:pt>
                <c:pt idx="327">
                  <c:v>4.8597555542949999</c:v>
                </c:pt>
                <c:pt idx="328">
                  <c:v>7.288452661499</c:v>
                </c:pt>
                <c:pt idx="329">
                  <c:v>28.133691301062001</c:v>
                </c:pt>
                <c:pt idx="330">
                  <c:v>29.502523661821002</c:v>
                </c:pt>
                <c:pt idx="331">
                  <c:v>27.667328047556001</c:v>
                </c:pt>
                <c:pt idx="332">
                  <c:v>15.697601406504999</c:v>
                </c:pt>
                <c:pt idx="333">
                  <c:v>24.292576658750999</c:v>
                </c:pt>
                <c:pt idx="334">
                  <c:v>5.4851626350720002</c:v>
                </c:pt>
                <c:pt idx="335">
                  <c:v>25.824627303673999</c:v>
                </c:pt>
                <c:pt idx="336">
                  <c:v>60.569822250866999</c:v>
                </c:pt>
                <c:pt idx="337">
                  <c:v>50.768449716158003</c:v>
                </c:pt>
                <c:pt idx="338">
                  <c:v>37.326223576460997</c:v>
                </c:pt>
                <c:pt idx="339">
                  <c:v>39.166654113250999</c:v>
                </c:pt>
                <c:pt idx="340">
                  <c:v>38.480607993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0B-4754-90A8-6FC4E50C7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386</c:v>
                </c:pt>
                <c:pt idx="1">
                  <c:v>44387</c:v>
                </c:pt>
                <c:pt idx="2">
                  <c:v>44388</c:v>
                </c:pt>
                <c:pt idx="3">
                  <c:v>44389</c:v>
                </c:pt>
                <c:pt idx="4">
                  <c:v>44390</c:v>
                </c:pt>
                <c:pt idx="5">
                  <c:v>44391</c:v>
                </c:pt>
                <c:pt idx="6">
                  <c:v>44392</c:v>
                </c:pt>
                <c:pt idx="7">
                  <c:v>44393</c:v>
                </c:pt>
                <c:pt idx="8">
                  <c:v>44394</c:v>
                </c:pt>
                <c:pt idx="9">
                  <c:v>44395</c:v>
                </c:pt>
                <c:pt idx="10">
                  <c:v>44396</c:v>
                </c:pt>
                <c:pt idx="11">
                  <c:v>44397</c:v>
                </c:pt>
                <c:pt idx="12">
                  <c:v>44398</c:v>
                </c:pt>
                <c:pt idx="13">
                  <c:v>44399</c:v>
                </c:pt>
                <c:pt idx="14">
                  <c:v>44400</c:v>
                </c:pt>
                <c:pt idx="15">
                  <c:v>44401</c:v>
                </c:pt>
                <c:pt idx="16">
                  <c:v>44402</c:v>
                </c:pt>
                <c:pt idx="17">
                  <c:v>44403</c:v>
                </c:pt>
                <c:pt idx="18">
                  <c:v>44404</c:v>
                </c:pt>
                <c:pt idx="19">
                  <c:v>44405</c:v>
                </c:pt>
                <c:pt idx="20">
                  <c:v>44406</c:v>
                </c:pt>
                <c:pt idx="21">
                  <c:v>44407</c:v>
                </c:pt>
                <c:pt idx="22">
                  <c:v>44408</c:v>
                </c:pt>
                <c:pt idx="23">
                  <c:v>44409</c:v>
                </c:pt>
                <c:pt idx="24">
                  <c:v>44410</c:v>
                </c:pt>
                <c:pt idx="25">
                  <c:v>44411</c:v>
                </c:pt>
                <c:pt idx="26">
                  <c:v>44412</c:v>
                </c:pt>
                <c:pt idx="27">
                  <c:v>44413</c:v>
                </c:pt>
                <c:pt idx="28">
                  <c:v>44414</c:v>
                </c:pt>
                <c:pt idx="29">
                  <c:v>44415</c:v>
                </c:pt>
                <c:pt idx="30">
                  <c:v>44416</c:v>
                </c:pt>
                <c:pt idx="31">
                  <c:v>44417</c:v>
                </c:pt>
                <c:pt idx="32">
                  <c:v>44418</c:v>
                </c:pt>
                <c:pt idx="33">
                  <c:v>44419</c:v>
                </c:pt>
                <c:pt idx="34">
                  <c:v>44420</c:v>
                </c:pt>
                <c:pt idx="35">
                  <c:v>44421</c:v>
                </c:pt>
                <c:pt idx="36">
                  <c:v>44422</c:v>
                </c:pt>
                <c:pt idx="37">
                  <c:v>44423</c:v>
                </c:pt>
                <c:pt idx="38">
                  <c:v>44424</c:v>
                </c:pt>
                <c:pt idx="39">
                  <c:v>44425</c:v>
                </c:pt>
                <c:pt idx="40">
                  <c:v>44426</c:v>
                </c:pt>
                <c:pt idx="41">
                  <c:v>44427</c:v>
                </c:pt>
                <c:pt idx="42">
                  <c:v>44428</c:v>
                </c:pt>
                <c:pt idx="43">
                  <c:v>44429</c:v>
                </c:pt>
                <c:pt idx="44">
                  <c:v>44430</c:v>
                </c:pt>
                <c:pt idx="45">
                  <c:v>44431</c:v>
                </c:pt>
                <c:pt idx="46">
                  <c:v>44432</c:v>
                </c:pt>
                <c:pt idx="47">
                  <c:v>44433</c:v>
                </c:pt>
                <c:pt idx="48">
                  <c:v>44434</c:v>
                </c:pt>
                <c:pt idx="49">
                  <c:v>44435</c:v>
                </c:pt>
                <c:pt idx="50">
                  <c:v>44436</c:v>
                </c:pt>
                <c:pt idx="51">
                  <c:v>44437</c:v>
                </c:pt>
                <c:pt idx="52">
                  <c:v>44438</c:v>
                </c:pt>
                <c:pt idx="53">
                  <c:v>44439</c:v>
                </c:pt>
                <c:pt idx="54">
                  <c:v>44440</c:v>
                </c:pt>
                <c:pt idx="55">
                  <c:v>44441</c:v>
                </c:pt>
                <c:pt idx="56">
                  <c:v>44442</c:v>
                </c:pt>
                <c:pt idx="57">
                  <c:v>44443</c:v>
                </c:pt>
                <c:pt idx="58">
                  <c:v>44444</c:v>
                </c:pt>
                <c:pt idx="59">
                  <c:v>44445</c:v>
                </c:pt>
                <c:pt idx="60">
                  <c:v>44446</c:v>
                </c:pt>
                <c:pt idx="61">
                  <c:v>44447</c:v>
                </c:pt>
                <c:pt idx="62">
                  <c:v>44448</c:v>
                </c:pt>
                <c:pt idx="63">
                  <c:v>44449</c:v>
                </c:pt>
                <c:pt idx="64">
                  <c:v>44450</c:v>
                </c:pt>
                <c:pt idx="65">
                  <c:v>44451</c:v>
                </c:pt>
                <c:pt idx="66">
                  <c:v>44452</c:v>
                </c:pt>
                <c:pt idx="67">
                  <c:v>44453</c:v>
                </c:pt>
                <c:pt idx="68">
                  <c:v>44454</c:v>
                </c:pt>
                <c:pt idx="69">
                  <c:v>44455</c:v>
                </c:pt>
                <c:pt idx="70">
                  <c:v>44456</c:v>
                </c:pt>
                <c:pt idx="71">
                  <c:v>44457</c:v>
                </c:pt>
                <c:pt idx="72">
                  <c:v>44458</c:v>
                </c:pt>
                <c:pt idx="73">
                  <c:v>44459</c:v>
                </c:pt>
                <c:pt idx="74">
                  <c:v>44460</c:v>
                </c:pt>
                <c:pt idx="75">
                  <c:v>44461</c:v>
                </c:pt>
                <c:pt idx="76">
                  <c:v>44462</c:v>
                </c:pt>
                <c:pt idx="77">
                  <c:v>44463</c:v>
                </c:pt>
                <c:pt idx="78">
                  <c:v>44464</c:v>
                </c:pt>
                <c:pt idx="79">
                  <c:v>44465</c:v>
                </c:pt>
                <c:pt idx="80">
                  <c:v>44466</c:v>
                </c:pt>
                <c:pt idx="81">
                  <c:v>44467</c:v>
                </c:pt>
                <c:pt idx="82">
                  <c:v>44468</c:v>
                </c:pt>
                <c:pt idx="83">
                  <c:v>44469</c:v>
                </c:pt>
                <c:pt idx="84">
                  <c:v>44470</c:v>
                </c:pt>
                <c:pt idx="85">
                  <c:v>44471</c:v>
                </c:pt>
                <c:pt idx="86">
                  <c:v>44472</c:v>
                </c:pt>
                <c:pt idx="87">
                  <c:v>44473</c:v>
                </c:pt>
                <c:pt idx="88">
                  <c:v>44474</c:v>
                </c:pt>
                <c:pt idx="89">
                  <c:v>44475</c:v>
                </c:pt>
                <c:pt idx="90">
                  <c:v>44476</c:v>
                </c:pt>
                <c:pt idx="91">
                  <c:v>44477</c:v>
                </c:pt>
                <c:pt idx="92">
                  <c:v>44478</c:v>
                </c:pt>
                <c:pt idx="93">
                  <c:v>44479</c:v>
                </c:pt>
                <c:pt idx="94">
                  <c:v>44480</c:v>
                </c:pt>
                <c:pt idx="95">
                  <c:v>44481</c:v>
                </c:pt>
                <c:pt idx="96">
                  <c:v>44482</c:v>
                </c:pt>
                <c:pt idx="97">
                  <c:v>44483</c:v>
                </c:pt>
                <c:pt idx="98">
                  <c:v>44484</c:v>
                </c:pt>
                <c:pt idx="99">
                  <c:v>44485</c:v>
                </c:pt>
                <c:pt idx="100">
                  <c:v>44486</c:v>
                </c:pt>
                <c:pt idx="101">
                  <c:v>44487</c:v>
                </c:pt>
                <c:pt idx="102">
                  <c:v>44488</c:v>
                </c:pt>
                <c:pt idx="103">
                  <c:v>44489</c:v>
                </c:pt>
                <c:pt idx="104">
                  <c:v>44490</c:v>
                </c:pt>
                <c:pt idx="105">
                  <c:v>44491</c:v>
                </c:pt>
                <c:pt idx="106">
                  <c:v>44492</c:v>
                </c:pt>
                <c:pt idx="107">
                  <c:v>44493</c:v>
                </c:pt>
                <c:pt idx="108">
                  <c:v>44494</c:v>
                </c:pt>
                <c:pt idx="109">
                  <c:v>44495</c:v>
                </c:pt>
                <c:pt idx="110">
                  <c:v>44496</c:v>
                </c:pt>
                <c:pt idx="111">
                  <c:v>44497</c:v>
                </c:pt>
                <c:pt idx="112">
                  <c:v>44498</c:v>
                </c:pt>
                <c:pt idx="113">
                  <c:v>44499</c:v>
                </c:pt>
                <c:pt idx="114">
                  <c:v>44500</c:v>
                </c:pt>
                <c:pt idx="115">
                  <c:v>44501</c:v>
                </c:pt>
                <c:pt idx="116">
                  <c:v>44502</c:v>
                </c:pt>
                <c:pt idx="117">
                  <c:v>44503</c:v>
                </c:pt>
                <c:pt idx="118">
                  <c:v>44504</c:v>
                </c:pt>
                <c:pt idx="119">
                  <c:v>44505</c:v>
                </c:pt>
                <c:pt idx="120">
                  <c:v>44506</c:v>
                </c:pt>
                <c:pt idx="121">
                  <c:v>44507</c:v>
                </c:pt>
                <c:pt idx="122">
                  <c:v>44508</c:v>
                </c:pt>
                <c:pt idx="123">
                  <c:v>44509</c:v>
                </c:pt>
                <c:pt idx="124">
                  <c:v>44510</c:v>
                </c:pt>
                <c:pt idx="125">
                  <c:v>44511</c:v>
                </c:pt>
                <c:pt idx="126">
                  <c:v>44512</c:v>
                </c:pt>
                <c:pt idx="127">
                  <c:v>44513</c:v>
                </c:pt>
                <c:pt idx="128">
                  <c:v>44514</c:v>
                </c:pt>
                <c:pt idx="129">
                  <c:v>44515</c:v>
                </c:pt>
                <c:pt idx="130">
                  <c:v>44516</c:v>
                </c:pt>
                <c:pt idx="131">
                  <c:v>44517</c:v>
                </c:pt>
                <c:pt idx="132">
                  <c:v>44518</c:v>
                </c:pt>
                <c:pt idx="133">
                  <c:v>44519</c:v>
                </c:pt>
                <c:pt idx="134">
                  <c:v>44520</c:v>
                </c:pt>
                <c:pt idx="135">
                  <c:v>44521</c:v>
                </c:pt>
                <c:pt idx="136">
                  <c:v>44522</c:v>
                </c:pt>
                <c:pt idx="137">
                  <c:v>44523</c:v>
                </c:pt>
                <c:pt idx="138">
                  <c:v>44524</c:v>
                </c:pt>
                <c:pt idx="139">
                  <c:v>44525</c:v>
                </c:pt>
                <c:pt idx="140">
                  <c:v>44526</c:v>
                </c:pt>
                <c:pt idx="141">
                  <c:v>44527</c:v>
                </c:pt>
                <c:pt idx="142">
                  <c:v>44528</c:v>
                </c:pt>
                <c:pt idx="143">
                  <c:v>44529</c:v>
                </c:pt>
                <c:pt idx="144">
                  <c:v>44530</c:v>
                </c:pt>
                <c:pt idx="145">
                  <c:v>44531</c:v>
                </c:pt>
                <c:pt idx="146">
                  <c:v>44532</c:v>
                </c:pt>
                <c:pt idx="147">
                  <c:v>44533</c:v>
                </c:pt>
                <c:pt idx="148">
                  <c:v>44534</c:v>
                </c:pt>
                <c:pt idx="149">
                  <c:v>44535</c:v>
                </c:pt>
                <c:pt idx="150">
                  <c:v>44536</c:v>
                </c:pt>
                <c:pt idx="151">
                  <c:v>44537</c:v>
                </c:pt>
                <c:pt idx="152">
                  <c:v>44538</c:v>
                </c:pt>
                <c:pt idx="153">
                  <c:v>44539</c:v>
                </c:pt>
                <c:pt idx="154">
                  <c:v>44540</c:v>
                </c:pt>
                <c:pt idx="155">
                  <c:v>44541</c:v>
                </c:pt>
                <c:pt idx="156">
                  <c:v>44542</c:v>
                </c:pt>
                <c:pt idx="157">
                  <c:v>44543</c:v>
                </c:pt>
                <c:pt idx="158">
                  <c:v>44544</c:v>
                </c:pt>
                <c:pt idx="159">
                  <c:v>44545</c:v>
                </c:pt>
                <c:pt idx="160">
                  <c:v>44546</c:v>
                </c:pt>
                <c:pt idx="161">
                  <c:v>44547</c:v>
                </c:pt>
                <c:pt idx="162">
                  <c:v>44548</c:v>
                </c:pt>
                <c:pt idx="163">
                  <c:v>44549</c:v>
                </c:pt>
                <c:pt idx="164">
                  <c:v>44550</c:v>
                </c:pt>
                <c:pt idx="165">
                  <c:v>44551</c:v>
                </c:pt>
                <c:pt idx="166">
                  <c:v>44552</c:v>
                </c:pt>
                <c:pt idx="167">
                  <c:v>44553</c:v>
                </c:pt>
                <c:pt idx="168">
                  <c:v>44554</c:v>
                </c:pt>
                <c:pt idx="169">
                  <c:v>44555</c:v>
                </c:pt>
                <c:pt idx="170">
                  <c:v>44556</c:v>
                </c:pt>
                <c:pt idx="171">
                  <c:v>44557</c:v>
                </c:pt>
                <c:pt idx="172">
                  <c:v>44558</c:v>
                </c:pt>
                <c:pt idx="173">
                  <c:v>44559</c:v>
                </c:pt>
                <c:pt idx="174">
                  <c:v>44560</c:v>
                </c:pt>
                <c:pt idx="175">
                  <c:v>44561</c:v>
                </c:pt>
                <c:pt idx="176">
                  <c:v>44562</c:v>
                </c:pt>
                <c:pt idx="177">
                  <c:v>44563</c:v>
                </c:pt>
                <c:pt idx="178">
                  <c:v>44564</c:v>
                </c:pt>
                <c:pt idx="179">
                  <c:v>44565</c:v>
                </c:pt>
                <c:pt idx="180">
                  <c:v>44566</c:v>
                </c:pt>
                <c:pt idx="181">
                  <c:v>44567</c:v>
                </c:pt>
                <c:pt idx="182">
                  <c:v>44568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1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3</c:v>
                </c:pt>
                <c:pt idx="55">
                  <c:v>1</c:v>
                </c:pt>
                <c:pt idx="56">
                  <c:v>1</c:v>
                </c:pt>
                <c:pt idx="57">
                  <c:v>0</c:v>
                </c:pt>
                <c:pt idx="58">
                  <c:v>0</c:v>
                </c:pt>
                <c:pt idx="59">
                  <c:v>1</c:v>
                </c:pt>
                <c:pt idx="60">
                  <c:v>2</c:v>
                </c:pt>
                <c:pt idx="61">
                  <c:v>1</c:v>
                </c:pt>
                <c:pt idx="62">
                  <c:v>1</c:v>
                </c:pt>
                <c:pt idx="63">
                  <c:v>0</c:v>
                </c:pt>
                <c:pt idx="64">
                  <c:v>0</c:v>
                </c:pt>
                <c:pt idx="65">
                  <c:v>1</c:v>
                </c:pt>
                <c:pt idx="66">
                  <c:v>0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0</c:v>
                </c:pt>
                <c:pt idx="73">
                  <c:v>4</c:v>
                </c:pt>
                <c:pt idx="74">
                  <c:v>4</c:v>
                </c:pt>
                <c:pt idx="75">
                  <c:v>2</c:v>
                </c:pt>
                <c:pt idx="76">
                  <c:v>0</c:v>
                </c:pt>
                <c:pt idx="77">
                  <c:v>0</c:v>
                </c:pt>
                <c:pt idx="78">
                  <c:v>1</c:v>
                </c:pt>
                <c:pt idx="79">
                  <c:v>1</c:v>
                </c:pt>
                <c:pt idx="80">
                  <c:v>5</c:v>
                </c:pt>
                <c:pt idx="81">
                  <c:v>2</c:v>
                </c:pt>
                <c:pt idx="82">
                  <c:v>7</c:v>
                </c:pt>
                <c:pt idx="83">
                  <c:v>3</c:v>
                </c:pt>
                <c:pt idx="84">
                  <c:v>2</c:v>
                </c:pt>
                <c:pt idx="85">
                  <c:v>0</c:v>
                </c:pt>
                <c:pt idx="86">
                  <c:v>0</c:v>
                </c:pt>
                <c:pt idx="87">
                  <c:v>3</c:v>
                </c:pt>
                <c:pt idx="88">
                  <c:v>5</c:v>
                </c:pt>
                <c:pt idx="89">
                  <c:v>2</c:v>
                </c:pt>
                <c:pt idx="90">
                  <c:v>1</c:v>
                </c:pt>
                <c:pt idx="91">
                  <c:v>2</c:v>
                </c:pt>
                <c:pt idx="92">
                  <c:v>1</c:v>
                </c:pt>
                <c:pt idx="93">
                  <c:v>0</c:v>
                </c:pt>
                <c:pt idx="94">
                  <c:v>2</c:v>
                </c:pt>
                <c:pt idx="95">
                  <c:v>3</c:v>
                </c:pt>
                <c:pt idx="96">
                  <c:v>1</c:v>
                </c:pt>
                <c:pt idx="97">
                  <c:v>3</c:v>
                </c:pt>
                <c:pt idx="98">
                  <c:v>6</c:v>
                </c:pt>
                <c:pt idx="99">
                  <c:v>2</c:v>
                </c:pt>
                <c:pt idx="100">
                  <c:v>1</c:v>
                </c:pt>
                <c:pt idx="101">
                  <c:v>12</c:v>
                </c:pt>
                <c:pt idx="102">
                  <c:v>8</c:v>
                </c:pt>
                <c:pt idx="103">
                  <c:v>9</c:v>
                </c:pt>
                <c:pt idx="104">
                  <c:v>7</c:v>
                </c:pt>
                <c:pt idx="105">
                  <c:v>10</c:v>
                </c:pt>
                <c:pt idx="106">
                  <c:v>0</c:v>
                </c:pt>
                <c:pt idx="107">
                  <c:v>3</c:v>
                </c:pt>
                <c:pt idx="108">
                  <c:v>19</c:v>
                </c:pt>
                <c:pt idx="109">
                  <c:v>5</c:v>
                </c:pt>
                <c:pt idx="110">
                  <c:v>17</c:v>
                </c:pt>
                <c:pt idx="111">
                  <c:v>3</c:v>
                </c:pt>
                <c:pt idx="112">
                  <c:v>8</c:v>
                </c:pt>
                <c:pt idx="113">
                  <c:v>5</c:v>
                </c:pt>
                <c:pt idx="114">
                  <c:v>4</c:v>
                </c:pt>
                <c:pt idx="115">
                  <c:v>41</c:v>
                </c:pt>
                <c:pt idx="116">
                  <c:v>25</c:v>
                </c:pt>
                <c:pt idx="117">
                  <c:v>19</c:v>
                </c:pt>
                <c:pt idx="118">
                  <c:v>24</c:v>
                </c:pt>
                <c:pt idx="119">
                  <c:v>27</c:v>
                </c:pt>
                <c:pt idx="120">
                  <c:v>13</c:v>
                </c:pt>
                <c:pt idx="121">
                  <c:v>5</c:v>
                </c:pt>
                <c:pt idx="122">
                  <c:v>50</c:v>
                </c:pt>
                <c:pt idx="123">
                  <c:v>25</c:v>
                </c:pt>
                <c:pt idx="124">
                  <c:v>29</c:v>
                </c:pt>
                <c:pt idx="125">
                  <c:v>36</c:v>
                </c:pt>
                <c:pt idx="126">
                  <c:v>34</c:v>
                </c:pt>
                <c:pt idx="127">
                  <c:v>20</c:v>
                </c:pt>
                <c:pt idx="128">
                  <c:v>14</c:v>
                </c:pt>
                <c:pt idx="129">
                  <c:v>55</c:v>
                </c:pt>
                <c:pt idx="130">
                  <c:v>33</c:v>
                </c:pt>
                <c:pt idx="131">
                  <c:v>13</c:v>
                </c:pt>
                <c:pt idx="132">
                  <c:v>42</c:v>
                </c:pt>
                <c:pt idx="133">
                  <c:v>52</c:v>
                </c:pt>
                <c:pt idx="134">
                  <c:v>11</c:v>
                </c:pt>
                <c:pt idx="135">
                  <c:v>7</c:v>
                </c:pt>
                <c:pt idx="136">
                  <c:v>68</c:v>
                </c:pt>
                <c:pt idx="137">
                  <c:v>44</c:v>
                </c:pt>
                <c:pt idx="138">
                  <c:v>45</c:v>
                </c:pt>
                <c:pt idx="139">
                  <c:v>48</c:v>
                </c:pt>
                <c:pt idx="140">
                  <c:v>48</c:v>
                </c:pt>
                <c:pt idx="141">
                  <c:v>22</c:v>
                </c:pt>
                <c:pt idx="142">
                  <c:v>8</c:v>
                </c:pt>
                <c:pt idx="143">
                  <c:v>43</c:v>
                </c:pt>
                <c:pt idx="144">
                  <c:v>48</c:v>
                </c:pt>
                <c:pt idx="145">
                  <c:v>40</c:v>
                </c:pt>
                <c:pt idx="146">
                  <c:v>32</c:v>
                </c:pt>
                <c:pt idx="147">
                  <c:v>27</c:v>
                </c:pt>
                <c:pt idx="148">
                  <c:v>21</c:v>
                </c:pt>
                <c:pt idx="149">
                  <c:v>9</c:v>
                </c:pt>
                <c:pt idx="150">
                  <c:v>48</c:v>
                </c:pt>
                <c:pt idx="151">
                  <c:v>34</c:v>
                </c:pt>
                <c:pt idx="152">
                  <c:v>34</c:v>
                </c:pt>
                <c:pt idx="153">
                  <c:v>25</c:v>
                </c:pt>
                <c:pt idx="154">
                  <c:v>18</c:v>
                </c:pt>
                <c:pt idx="155">
                  <c:v>13</c:v>
                </c:pt>
                <c:pt idx="156">
                  <c:v>7</c:v>
                </c:pt>
                <c:pt idx="157">
                  <c:v>30</c:v>
                </c:pt>
                <c:pt idx="158">
                  <c:v>36</c:v>
                </c:pt>
                <c:pt idx="159">
                  <c:v>28</c:v>
                </c:pt>
                <c:pt idx="160" formatCode="General">
                  <c:v>17</c:v>
                </c:pt>
                <c:pt idx="161" formatCode="General">
                  <c:v>14</c:v>
                </c:pt>
                <c:pt idx="162" formatCode="General">
                  <c:v>7</c:v>
                </c:pt>
                <c:pt idx="163" formatCode="General">
                  <c:v>10</c:v>
                </c:pt>
                <c:pt idx="164" formatCode="General">
                  <c:v>23</c:v>
                </c:pt>
                <c:pt idx="165" formatCode="General">
                  <c:v>12</c:v>
                </c:pt>
                <c:pt idx="166" formatCode="General">
                  <c:v>7</c:v>
                </c:pt>
                <c:pt idx="167" formatCode="General">
                  <c:v>8</c:v>
                </c:pt>
                <c:pt idx="168" formatCode="General">
                  <c:v>6</c:v>
                </c:pt>
                <c:pt idx="169" formatCode="General">
                  <c:v>2</c:v>
                </c:pt>
                <c:pt idx="170" formatCode="General">
                  <c:v>5</c:v>
                </c:pt>
                <c:pt idx="171" formatCode="General">
                  <c:v>6</c:v>
                </c:pt>
                <c:pt idx="172" formatCode="General">
                  <c:v>20</c:v>
                </c:pt>
                <c:pt idx="173" formatCode="General">
                  <c:v>10</c:v>
                </c:pt>
                <c:pt idx="174" formatCode="General">
                  <c:v>18</c:v>
                </c:pt>
                <c:pt idx="175" formatCode="General">
                  <c:v>8</c:v>
                </c:pt>
                <c:pt idx="176" formatCode="General">
                  <c:v>0</c:v>
                </c:pt>
                <c:pt idx="177" formatCode="General">
                  <c:v>1</c:v>
                </c:pt>
                <c:pt idx="178" formatCode="General">
                  <c:v>14</c:v>
                </c:pt>
                <c:pt idx="179" formatCode="General">
                  <c:v>17</c:v>
                </c:pt>
                <c:pt idx="180" formatCode="General">
                  <c:v>7</c:v>
                </c:pt>
                <c:pt idx="181" formatCode="General">
                  <c:v>7</c:v>
                </c:pt>
                <c:pt idx="182" formatCode="General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34">
                  <c:v>0.1392709</c:v>
                </c:pt>
                <c:pt idx="35">
                  <c:v>0.41781269999999998</c:v>
                </c:pt>
                <c:pt idx="36">
                  <c:v>1.2534381999999999</c:v>
                </c:pt>
                <c:pt idx="37">
                  <c:v>2.7854182999999999</c:v>
                </c:pt>
                <c:pt idx="38">
                  <c:v>7.3813585000000002</c:v>
                </c:pt>
                <c:pt idx="39">
                  <c:v>46.237944300000002</c:v>
                </c:pt>
                <c:pt idx="40">
                  <c:v>84.258904599999994</c:v>
                </c:pt>
                <c:pt idx="41">
                  <c:v>159.04738689999999</c:v>
                </c:pt>
                <c:pt idx="42">
                  <c:v>261.82932340000002</c:v>
                </c:pt>
                <c:pt idx="43">
                  <c:v>245.9524389</c:v>
                </c:pt>
                <c:pt idx="44">
                  <c:v>197.6254308</c:v>
                </c:pt>
                <c:pt idx="45">
                  <c:v>143.03123149999999</c:v>
                </c:pt>
                <c:pt idx="46">
                  <c:v>99.300163600000005</c:v>
                </c:pt>
                <c:pt idx="47">
                  <c:v>63.786079800000003</c:v>
                </c:pt>
                <c:pt idx="48">
                  <c:v>66.014414500000001</c:v>
                </c:pt>
                <c:pt idx="49">
                  <c:v>60.7221197</c:v>
                </c:pt>
                <c:pt idx="50">
                  <c:v>77.016816899999995</c:v>
                </c:pt>
                <c:pt idx="51">
                  <c:v>86.765781099999998</c:v>
                </c:pt>
                <c:pt idx="52">
                  <c:v>96.027297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105.288813</c:v>
                </c:pt>
                <c:pt idx="1">
                  <c:v>102.5266065</c:v>
                </c:pt>
                <c:pt idx="2">
                  <c:v>62.393370699999998</c:v>
                </c:pt>
                <c:pt idx="3">
                  <c:v>55.986908499999998</c:v>
                </c:pt>
                <c:pt idx="4">
                  <c:v>45.263047899999997</c:v>
                </c:pt>
                <c:pt idx="5">
                  <c:v>33.982103600000002</c:v>
                </c:pt>
                <c:pt idx="6">
                  <c:v>32.728665399999997</c:v>
                </c:pt>
                <c:pt idx="7">
                  <c:v>33.564290900000003</c:v>
                </c:pt>
                <c:pt idx="8">
                  <c:v>33.703561800000003</c:v>
                </c:pt>
                <c:pt idx="9">
                  <c:v>30.500330699999999</c:v>
                </c:pt>
                <c:pt idx="10">
                  <c:v>20.055012000000001</c:v>
                </c:pt>
                <c:pt idx="11">
                  <c:v>14.0663625</c:v>
                </c:pt>
                <c:pt idx="12">
                  <c:v>10.3060478</c:v>
                </c:pt>
                <c:pt idx="13">
                  <c:v>8.7740676999999998</c:v>
                </c:pt>
                <c:pt idx="14">
                  <c:v>6.6850040000000002</c:v>
                </c:pt>
                <c:pt idx="15">
                  <c:v>4.3173984000000001</c:v>
                </c:pt>
                <c:pt idx="16">
                  <c:v>3.4817729000000002</c:v>
                </c:pt>
                <c:pt idx="17">
                  <c:v>1.8105218999999999</c:v>
                </c:pt>
                <c:pt idx="18">
                  <c:v>1.8105218999999999</c:v>
                </c:pt>
                <c:pt idx="19">
                  <c:v>1.9497928</c:v>
                </c:pt>
                <c:pt idx="20">
                  <c:v>1.1141673000000001</c:v>
                </c:pt>
                <c:pt idx="21">
                  <c:v>0.1392709</c:v>
                </c:pt>
                <c:pt idx="22">
                  <c:v>0.1392709</c:v>
                </c:pt>
                <c:pt idx="23">
                  <c:v>0</c:v>
                </c:pt>
                <c:pt idx="24">
                  <c:v>0</c:v>
                </c:pt>
                <c:pt idx="25">
                  <c:v>0.1392709</c:v>
                </c:pt>
                <c:pt idx="26">
                  <c:v>0</c:v>
                </c:pt>
                <c:pt idx="27">
                  <c:v>0.1392709</c:v>
                </c:pt>
                <c:pt idx="28">
                  <c:v>0.1392709</c:v>
                </c:pt>
                <c:pt idx="29">
                  <c:v>0.41781269999999998</c:v>
                </c:pt>
                <c:pt idx="30">
                  <c:v>0</c:v>
                </c:pt>
                <c:pt idx="31">
                  <c:v>0.27854180000000001</c:v>
                </c:pt>
                <c:pt idx="32">
                  <c:v>0</c:v>
                </c:pt>
                <c:pt idx="33">
                  <c:v>0.1392709</c:v>
                </c:pt>
                <c:pt idx="34">
                  <c:v>0.83562550000000002</c:v>
                </c:pt>
                <c:pt idx="35">
                  <c:v>0.83562550000000002</c:v>
                </c:pt>
                <c:pt idx="36">
                  <c:v>0.41781269999999998</c:v>
                </c:pt>
                <c:pt idx="37">
                  <c:v>1.5319799999999999</c:v>
                </c:pt>
                <c:pt idx="38">
                  <c:v>2.2283346000000002</c:v>
                </c:pt>
                <c:pt idx="39">
                  <c:v>2.0890637000000001</c:v>
                </c:pt>
                <c:pt idx="40">
                  <c:v>1.3927091</c:v>
                </c:pt>
                <c:pt idx="41">
                  <c:v>5.7101075000000003</c:v>
                </c:pt>
                <c:pt idx="42">
                  <c:v>8.4955259000000005</c:v>
                </c:pt>
                <c:pt idx="43">
                  <c:v>14.6234462</c:v>
                </c:pt>
                <c:pt idx="44">
                  <c:v>24.093868499999999</c:v>
                </c:pt>
                <c:pt idx="45">
                  <c:v>28.550537899999998</c:v>
                </c:pt>
                <c:pt idx="46">
                  <c:v>37.463876599999999</c:v>
                </c:pt>
                <c:pt idx="47">
                  <c:v>35.792625600000001</c:v>
                </c:pt>
                <c:pt idx="48">
                  <c:v>28.550537899999998</c:v>
                </c:pt>
                <c:pt idx="49">
                  <c:v>21.865533899999999</c:v>
                </c:pt>
                <c:pt idx="50">
                  <c:v>12.5343825</c:v>
                </c:pt>
                <c:pt idx="51">
                  <c:v>7.9384421999999999</c:v>
                </c:pt>
                <c:pt idx="52">
                  <c:v>12.6736533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cat>
            <c:strRef>
              <c:f>List1!$B$1:$BB$1</c:f>
              <c:strCache>
                <c:ptCount val="53"/>
                <c:pt idx="0">
                  <c:v>01.01 - 07.01</c:v>
                </c:pt>
                <c:pt idx="1">
                  <c:v>08.01 - 13.01</c:v>
                </c:pt>
                <c:pt idx="2">
                  <c:v>14.01 - 20.01</c:v>
                </c:pt>
                <c:pt idx="3">
                  <c:v>21.01 - 27.01</c:v>
                </c:pt>
                <c:pt idx="4">
                  <c:v>28.01 - 03.02</c:v>
                </c:pt>
                <c:pt idx="5">
                  <c:v>04.02 - 10.02</c:v>
                </c:pt>
                <c:pt idx="6">
                  <c:v>11.02 - 17.02</c:v>
                </c:pt>
                <c:pt idx="7">
                  <c:v>18.02 - 24.02</c:v>
                </c:pt>
                <c:pt idx="8">
                  <c:v>25.02 - 03.03</c:v>
                </c:pt>
                <c:pt idx="9">
                  <c:v>04.03 - 10.03</c:v>
                </c:pt>
                <c:pt idx="10">
                  <c:v>11.03 - 17.03</c:v>
                </c:pt>
                <c:pt idx="11">
                  <c:v>18.03 - 24.03</c:v>
                </c:pt>
                <c:pt idx="12">
                  <c:v>25.03 - 31.03</c:v>
                </c:pt>
                <c:pt idx="13">
                  <c:v>01.04 - 07.04</c:v>
                </c:pt>
                <c:pt idx="14">
                  <c:v>08.04 - 14.04</c:v>
                </c:pt>
                <c:pt idx="15">
                  <c:v>15.04 - 21.04</c:v>
                </c:pt>
                <c:pt idx="16">
                  <c:v>22.04 - 28.04</c:v>
                </c:pt>
                <c:pt idx="17">
                  <c:v>29.04 - 05.05</c:v>
                </c:pt>
                <c:pt idx="18">
                  <c:v>06.05 - 12.05</c:v>
                </c:pt>
                <c:pt idx="19">
                  <c:v>13.05 - 19.05</c:v>
                </c:pt>
                <c:pt idx="20">
                  <c:v>20.05 - 26.05</c:v>
                </c:pt>
                <c:pt idx="21">
                  <c:v>27.05 - 02.06</c:v>
                </c:pt>
                <c:pt idx="22">
                  <c:v>03.06 - 09.06</c:v>
                </c:pt>
                <c:pt idx="23">
                  <c:v>10.06 - 16.06</c:v>
                </c:pt>
                <c:pt idx="24">
                  <c:v>17.06 - 23.06</c:v>
                </c:pt>
                <c:pt idx="25">
                  <c:v>24.06 - 30.06</c:v>
                </c:pt>
                <c:pt idx="26">
                  <c:v>01.07 - 07.07</c:v>
                </c:pt>
                <c:pt idx="27">
                  <c:v>08.07 - 14.07</c:v>
                </c:pt>
                <c:pt idx="28">
                  <c:v>15.07 - 21.07</c:v>
                </c:pt>
                <c:pt idx="29">
                  <c:v>22.07 - 28.07</c:v>
                </c:pt>
                <c:pt idx="30">
                  <c:v>29.07 - 04.08</c:v>
                </c:pt>
                <c:pt idx="31">
                  <c:v>05.08 - 11.08</c:v>
                </c:pt>
                <c:pt idx="32">
                  <c:v>12.08 - 18.08</c:v>
                </c:pt>
                <c:pt idx="33">
                  <c:v>19.08 - 25.08</c:v>
                </c:pt>
                <c:pt idx="34">
                  <c:v>26.08 - 01.09</c:v>
                </c:pt>
                <c:pt idx="35">
                  <c:v>02.09 - 08.09</c:v>
                </c:pt>
                <c:pt idx="36">
                  <c:v>09.09 - 15.09</c:v>
                </c:pt>
                <c:pt idx="37">
                  <c:v>16.09 - 22.09</c:v>
                </c:pt>
                <c:pt idx="38">
                  <c:v>23.09 - 29.09</c:v>
                </c:pt>
                <c:pt idx="39">
                  <c:v>30.09 - 06.10</c:v>
                </c:pt>
                <c:pt idx="40">
                  <c:v>07.10 - 13.10</c:v>
                </c:pt>
                <c:pt idx="41">
                  <c:v>14.10 - 20.10</c:v>
                </c:pt>
                <c:pt idx="42">
                  <c:v>21.10 - 27.10</c:v>
                </c:pt>
                <c:pt idx="43">
                  <c:v>28.10 - 03.11</c:v>
                </c:pt>
                <c:pt idx="44">
                  <c:v>04.11 - 10.11</c:v>
                </c:pt>
                <c:pt idx="45">
                  <c:v>11.11 - 17.11</c:v>
                </c:pt>
                <c:pt idx="46">
                  <c:v>18.11 - 24.11</c:v>
                </c:pt>
                <c:pt idx="47">
                  <c:v>25.11 - 01.12</c:v>
                </c:pt>
                <c:pt idx="48">
                  <c:v>02.12 - 08.12</c:v>
                </c:pt>
                <c:pt idx="49">
                  <c:v>09.12 - 15.12</c:v>
                </c:pt>
                <c:pt idx="50">
                  <c:v>16.12 - 22.12</c:v>
                </c:pt>
                <c:pt idx="51">
                  <c:v>23.12 - 29.12</c:v>
                </c:pt>
                <c:pt idx="52">
                  <c:v>30.12 - 31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6.545733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álovéhradec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Kraj Vysočina</c:v>
                </c:pt>
                <c:pt idx="5">
                  <c:v>Jihočeský kraj</c:v>
                </c:pt>
                <c:pt idx="6">
                  <c:v>Pardubický kraj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598709999999997</c:v>
                </c:pt>
                <c:pt idx="1">
                  <c:v>90.216840000000005</c:v>
                </c:pt>
                <c:pt idx="2">
                  <c:v>90.070369999999997</c:v>
                </c:pt>
                <c:pt idx="3">
                  <c:v>89.908799999999999</c:v>
                </c:pt>
                <c:pt idx="4">
                  <c:v>89.894419999999997</c:v>
                </c:pt>
                <c:pt idx="5">
                  <c:v>89.404929999999993</c:v>
                </c:pt>
                <c:pt idx="6">
                  <c:v>89.045150000000007</c:v>
                </c:pt>
                <c:pt idx="7">
                  <c:v>89.038460000000001</c:v>
                </c:pt>
                <c:pt idx="8">
                  <c:v>88.923910000000006</c:v>
                </c:pt>
                <c:pt idx="9">
                  <c:v>87.860240000000005</c:v>
                </c:pt>
                <c:pt idx="10">
                  <c:v>87.181820000000002</c:v>
                </c:pt>
                <c:pt idx="11">
                  <c:v>84.889750000000006</c:v>
                </c:pt>
                <c:pt idx="12">
                  <c:v>84.853269999999995</c:v>
                </c:pt>
                <c:pt idx="13">
                  <c:v>84.082250000000002</c:v>
                </c:pt>
                <c:pt idx="14">
                  <c:v>84.05594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Hlavní město Praha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247150000000005</c:v>
                </c:pt>
                <c:pt idx="1">
                  <c:v>87.949789999999993</c:v>
                </c:pt>
                <c:pt idx="2">
                  <c:v>87.378640000000004</c:v>
                </c:pt>
                <c:pt idx="3">
                  <c:v>87.083330000000004</c:v>
                </c:pt>
                <c:pt idx="4">
                  <c:v>86.070930000000004</c:v>
                </c:pt>
                <c:pt idx="5">
                  <c:v>86.067239999999998</c:v>
                </c:pt>
                <c:pt idx="6">
                  <c:v>84.700209999999998</c:v>
                </c:pt>
                <c:pt idx="7">
                  <c:v>84.379069999999999</c:v>
                </c:pt>
                <c:pt idx="8">
                  <c:v>83.783190000000005</c:v>
                </c:pt>
                <c:pt idx="9">
                  <c:v>83.592100000000002</c:v>
                </c:pt>
                <c:pt idx="10">
                  <c:v>82.912909999999997</c:v>
                </c:pt>
                <c:pt idx="11">
                  <c:v>80.885530000000003</c:v>
                </c:pt>
                <c:pt idx="12">
                  <c:v>78.696160000000006</c:v>
                </c:pt>
                <c:pt idx="13">
                  <c:v>78.691239999999993</c:v>
                </c:pt>
                <c:pt idx="14">
                  <c:v>77.42597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26 Odborný pracovník v laboratorních metodách a v přípravě léčivých přípravků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22 Psycholog ve zdravotnictví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11 Optometrista</c:v>
                </c:pt>
                <c:pt idx="18">
                  <c:v>§ 7 Ergoterapeut</c:v>
                </c:pt>
                <c:pt idx="19">
                  <c:v>§ 10 Zdravotně-sociální pracovník</c:v>
                </c:pt>
                <c:pt idx="20">
                  <c:v>§ 23 Logoped ve zdravotnictví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5 Radiologický fyz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710</c:v>
                </c:pt>
                <c:pt idx="1">
                  <c:v>1695</c:v>
                </c:pt>
                <c:pt idx="2">
                  <c:v>1426</c:v>
                </c:pt>
                <c:pt idx="3">
                  <c:v>1239</c:v>
                </c:pt>
                <c:pt idx="4">
                  <c:v>1170</c:v>
                </c:pt>
                <c:pt idx="5">
                  <c:v>846</c:v>
                </c:pt>
                <c:pt idx="6">
                  <c:v>642</c:v>
                </c:pt>
                <c:pt idx="7">
                  <c:v>633</c:v>
                </c:pt>
                <c:pt idx="8">
                  <c:v>494</c:v>
                </c:pt>
                <c:pt idx="9">
                  <c:v>481</c:v>
                </c:pt>
                <c:pt idx="10">
                  <c:v>451</c:v>
                </c:pt>
                <c:pt idx="11">
                  <c:v>359</c:v>
                </c:pt>
                <c:pt idx="12">
                  <c:v>272</c:v>
                </c:pt>
                <c:pt idx="13">
                  <c:v>229</c:v>
                </c:pt>
                <c:pt idx="14">
                  <c:v>218</c:v>
                </c:pt>
                <c:pt idx="15">
                  <c:v>197</c:v>
                </c:pt>
                <c:pt idx="16">
                  <c:v>160</c:v>
                </c:pt>
                <c:pt idx="17">
                  <c:v>146</c:v>
                </c:pt>
                <c:pt idx="18">
                  <c:v>139</c:v>
                </c:pt>
                <c:pt idx="19">
                  <c:v>134</c:v>
                </c:pt>
                <c:pt idx="20">
                  <c:v>128</c:v>
                </c:pt>
                <c:pt idx="21">
                  <c:v>111</c:v>
                </c:pt>
                <c:pt idx="22">
                  <c:v>68</c:v>
                </c:pt>
                <c:pt idx="23">
                  <c:v>45</c:v>
                </c:pt>
                <c:pt idx="24">
                  <c:v>34</c:v>
                </c:pt>
                <c:pt idx="25">
                  <c:v>33</c:v>
                </c:pt>
                <c:pt idx="26">
                  <c:v>22</c:v>
                </c:pt>
                <c:pt idx="27">
                  <c:v>18</c:v>
                </c:pt>
                <c:pt idx="28">
                  <c:v>18</c:v>
                </c:pt>
                <c:pt idx="29">
                  <c:v>14</c:v>
                </c:pt>
                <c:pt idx="30">
                  <c:v>9</c:v>
                </c:pt>
                <c:pt idx="31">
                  <c:v>8</c:v>
                </c:pt>
                <c:pt idx="32">
                  <c:v>8</c:v>
                </c:pt>
                <c:pt idx="33">
                  <c:v>4</c:v>
                </c:pt>
                <c:pt idx="34">
                  <c:v>2</c:v>
                </c:pt>
                <c:pt idx="3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39 Zubní instrumentářka</c:v>
                </c:pt>
                <c:pt idx="7">
                  <c:v>§ 18 Zdravotnický záchranář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23 Logoped ve zdravotnictví</c:v>
                </c:pt>
                <c:pt idx="18">
                  <c:v>§ 7 Ergoterapeut</c:v>
                </c:pt>
                <c:pt idx="19">
                  <c:v>§ 11 Optometrista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25 Radiologický fyzik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2 Nutriční asistent</c:v>
                </c:pt>
                <c:pt idx="32">
                  <c:v>§ 41 Autoptický laborant</c:v>
                </c:pt>
                <c:pt idx="33">
                  <c:v>§ 23a Zrakový terapeut</c:v>
                </c:pt>
                <c:pt idx="34">
                  <c:v>§ 21 Radiologický technik</c:v>
                </c:pt>
                <c:pt idx="35">
                  <c:v>§ 31 Ortoticko-protetický technik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1324</c:v>
                </c:pt>
                <c:pt idx="1">
                  <c:v>766</c:v>
                </c:pt>
                <c:pt idx="2">
                  <c:v>647</c:v>
                </c:pt>
                <c:pt idx="3">
                  <c:v>600</c:v>
                </c:pt>
                <c:pt idx="4">
                  <c:v>506</c:v>
                </c:pt>
                <c:pt idx="5">
                  <c:v>308</c:v>
                </c:pt>
                <c:pt idx="6">
                  <c:v>284</c:v>
                </c:pt>
                <c:pt idx="7">
                  <c:v>264</c:v>
                </c:pt>
                <c:pt idx="8">
                  <c:v>251</c:v>
                </c:pt>
                <c:pt idx="9">
                  <c:v>200</c:v>
                </c:pt>
                <c:pt idx="10">
                  <c:v>190</c:v>
                </c:pt>
                <c:pt idx="11">
                  <c:v>137</c:v>
                </c:pt>
                <c:pt idx="12">
                  <c:v>107</c:v>
                </c:pt>
                <c:pt idx="13">
                  <c:v>100</c:v>
                </c:pt>
                <c:pt idx="14">
                  <c:v>92</c:v>
                </c:pt>
                <c:pt idx="15">
                  <c:v>83</c:v>
                </c:pt>
                <c:pt idx="16">
                  <c:v>78</c:v>
                </c:pt>
                <c:pt idx="17">
                  <c:v>74</c:v>
                </c:pt>
                <c:pt idx="18">
                  <c:v>66</c:v>
                </c:pt>
                <c:pt idx="19">
                  <c:v>63</c:v>
                </c:pt>
                <c:pt idx="20">
                  <c:v>54</c:v>
                </c:pt>
                <c:pt idx="21">
                  <c:v>46</c:v>
                </c:pt>
                <c:pt idx="22">
                  <c:v>33</c:v>
                </c:pt>
                <c:pt idx="23">
                  <c:v>21</c:v>
                </c:pt>
                <c:pt idx="24">
                  <c:v>16</c:v>
                </c:pt>
                <c:pt idx="25">
                  <c:v>15</c:v>
                </c:pt>
                <c:pt idx="26">
                  <c:v>12</c:v>
                </c:pt>
                <c:pt idx="27">
                  <c:v>10</c:v>
                </c:pt>
                <c:pt idx="28">
                  <c:v>6</c:v>
                </c:pt>
                <c:pt idx="29">
                  <c:v>6</c:v>
                </c:pt>
                <c:pt idx="30">
                  <c:v>5</c:v>
                </c:pt>
                <c:pt idx="31">
                  <c:v>3</c:v>
                </c:pt>
                <c:pt idx="32">
                  <c:v>3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6</c:f>
              <c:strCache>
                <c:ptCount val="25"/>
                <c:pt idx="0">
                  <c:v>§ 42 Sanitář</c:v>
                </c:pt>
                <c:pt idx="1">
                  <c:v>§ 9 Zdravotní laborant</c:v>
                </c:pt>
                <c:pt idx="2">
                  <c:v>§ 24 Fyzioterapeut</c:v>
                </c:pt>
                <c:pt idx="3">
                  <c:v>farmaceut</c:v>
                </c:pt>
                <c:pt idx="4">
                  <c:v>§ 19 Farmaceutický asistent</c:v>
                </c:pt>
                <c:pt idx="5">
                  <c:v>§ 39 Zubní instrumentářka</c:v>
                </c:pt>
                <c:pt idx="6">
                  <c:v>§ 26 Odborný pracovník v laboratorních metodách a v přípravě léčivých přípravků</c:v>
                </c:pt>
                <c:pt idx="7">
                  <c:v>§ 18 Zdravotnický záchranář</c:v>
                </c:pt>
                <c:pt idx="8">
                  <c:v>§ 36 Ošetřovatel</c:v>
                </c:pt>
                <c:pt idx="9">
                  <c:v>§ 40 Řidič zdravotnické dopravní služby</c:v>
                </c:pt>
                <c:pt idx="10">
                  <c:v>§ 16 Zubní technik</c:v>
                </c:pt>
                <c:pt idx="11">
                  <c:v>§ 8 Radiologický asistent</c:v>
                </c:pt>
                <c:pt idx="12">
                  <c:v>§ 15 Nutriční terapeut</c:v>
                </c:pt>
                <c:pt idx="13">
                  <c:v>§ 22 Psycholog ve zdravotnictví</c:v>
                </c:pt>
                <c:pt idx="14">
                  <c:v>§ 23 Logoped ve zdravotnictví</c:v>
                </c:pt>
                <c:pt idx="15">
                  <c:v>§ 7 Ergoterapeut</c:v>
                </c:pt>
                <c:pt idx="16">
                  <c:v>§ 17 Dentální hygienistka</c:v>
                </c:pt>
                <c:pt idx="17">
                  <c:v>§ 27 Biomedicínský inženýr</c:v>
                </c:pt>
                <c:pt idx="18">
                  <c:v>§ 28 Odborný pracovník v ochraně a podpoře veřejného zdraví</c:v>
                </c:pt>
                <c:pt idx="19">
                  <c:v>§ 30 Laboratorní asistent</c:v>
                </c:pt>
                <c:pt idx="20">
                  <c:v>§ 10 Zdravotně-sociální pracovník</c:v>
                </c:pt>
                <c:pt idx="21">
                  <c:v>§ 11 Optometrista</c:v>
                </c:pt>
                <c:pt idx="22">
                  <c:v>§ 13 Asistent ochrany a podpory veřejného zdraví</c:v>
                </c:pt>
                <c:pt idx="23">
                  <c:v>§ 33 Asistent zubního technika</c:v>
                </c:pt>
                <c:pt idx="24">
                  <c:v>§ 37 Masér ve zdravotnictví, nevidomý a slabozraký masér ve zdravotnictví</c:v>
                </c:pt>
              </c:strCache>
            </c:strRef>
          </c:cat>
          <c:val>
            <c:numRef>
              <c:f>List1!$B$2:$B$26</c:f>
              <c:numCache>
                <c:formatCode>General</c:formatCode>
                <c:ptCount val="25"/>
                <c:pt idx="0">
                  <c:v>52</c:v>
                </c:pt>
                <c:pt idx="1">
                  <c:v>34</c:v>
                </c:pt>
                <c:pt idx="2">
                  <c:v>31</c:v>
                </c:pt>
                <c:pt idx="3">
                  <c:v>29</c:v>
                </c:pt>
                <c:pt idx="4">
                  <c:v>21</c:v>
                </c:pt>
                <c:pt idx="5">
                  <c:v>17</c:v>
                </c:pt>
                <c:pt idx="6">
                  <c:v>15</c:v>
                </c:pt>
                <c:pt idx="7">
                  <c:v>14</c:v>
                </c:pt>
                <c:pt idx="8">
                  <c:v>13</c:v>
                </c:pt>
                <c:pt idx="9">
                  <c:v>9</c:v>
                </c:pt>
                <c:pt idx="10">
                  <c:v>8</c:v>
                </c:pt>
                <c:pt idx="11">
                  <c:v>6</c:v>
                </c:pt>
                <c:pt idx="12">
                  <c:v>6</c:v>
                </c:pt>
                <c:pt idx="13">
                  <c:v>5</c:v>
                </c:pt>
                <c:pt idx="14">
                  <c:v>5</c:v>
                </c:pt>
                <c:pt idx="15">
                  <c:v>4</c:v>
                </c:pt>
                <c:pt idx="16">
                  <c:v>3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9.07.21</c:v>
                </c:pt>
                <c:pt idx="1">
                  <c:v>10.07.21</c:v>
                </c:pt>
                <c:pt idx="2">
                  <c:v>11.07.21</c:v>
                </c:pt>
                <c:pt idx="3">
                  <c:v>12.07.21</c:v>
                </c:pt>
                <c:pt idx="4">
                  <c:v>13.07.21</c:v>
                </c:pt>
                <c:pt idx="5">
                  <c:v>14.07.21</c:v>
                </c:pt>
                <c:pt idx="6">
                  <c:v>15.07.21</c:v>
                </c:pt>
                <c:pt idx="7">
                  <c:v>16.07.21</c:v>
                </c:pt>
                <c:pt idx="8">
                  <c:v>17.07.21</c:v>
                </c:pt>
                <c:pt idx="9">
                  <c:v>18.07.21</c:v>
                </c:pt>
                <c:pt idx="10">
                  <c:v>19.07.21</c:v>
                </c:pt>
                <c:pt idx="11">
                  <c:v>20.07.21</c:v>
                </c:pt>
                <c:pt idx="12">
                  <c:v>21.07.21</c:v>
                </c:pt>
                <c:pt idx="13">
                  <c:v>22.07.21</c:v>
                </c:pt>
                <c:pt idx="14">
                  <c:v>23.07.21</c:v>
                </c:pt>
                <c:pt idx="15">
                  <c:v>24.07.21</c:v>
                </c:pt>
                <c:pt idx="16">
                  <c:v>25.07.21</c:v>
                </c:pt>
                <c:pt idx="17">
                  <c:v>26.07.21</c:v>
                </c:pt>
                <c:pt idx="18">
                  <c:v>27.07.21</c:v>
                </c:pt>
                <c:pt idx="19">
                  <c:v>28.07.21</c:v>
                </c:pt>
                <c:pt idx="20">
                  <c:v>29.07.21</c:v>
                </c:pt>
                <c:pt idx="21">
                  <c:v>30.07.21</c:v>
                </c:pt>
                <c:pt idx="22">
                  <c:v>31.07.21</c:v>
                </c:pt>
                <c:pt idx="23">
                  <c:v>01.08.21</c:v>
                </c:pt>
                <c:pt idx="24">
                  <c:v>02.08.21</c:v>
                </c:pt>
                <c:pt idx="25">
                  <c:v>03.08.21</c:v>
                </c:pt>
                <c:pt idx="26">
                  <c:v>04.08.21</c:v>
                </c:pt>
                <c:pt idx="27">
                  <c:v>05.08.21</c:v>
                </c:pt>
                <c:pt idx="28">
                  <c:v>06.08.21</c:v>
                </c:pt>
                <c:pt idx="29">
                  <c:v>07.08.21</c:v>
                </c:pt>
                <c:pt idx="30">
                  <c:v>08.08.21</c:v>
                </c:pt>
                <c:pt idx="31">
                  <c:v>09.08.21</c:v>
                </c:pt>
                <c:pt idx="32">
                  <c:v>10.08.21</c:v>
                </c:pt>
                <c:pt idx="33">
                  <c:v>11.08.21</c:v>
                </c:pt>
                <c:pt idx="34">
                  <c:v>12.08.21</c:v>
                </c:pt>
                <c:pt idx="35">
                  <c:v>13.08.21</c:v>
                </c:pt>
                <c:pt idx="36">
                  <c:v>14.08.21</c:v>
                </c:pt>
                <c:pt idx="37">
                  <c:v>15.08.21</c:v>
                </c:pt>
                <c:pt idx="38">
                  <c:v>16.08.21</c:v>
                </c:pt>
                <c:pt idx="39">
                  <c:v>17.08.21</c:v>
                </c:pt>
                <c:pt idx="40">
                  <c:v>18.08.21</c:v>
                </c:pt>
                <c:pt idx="41">
                  <c:v>19.08.21</c:v>
                </c:pt>
                <c:pt idx="42">
                  <c:v>20.08.21</c:v>
                </c:pt>
                <c:pt idx="43">
                  <c:v>21.08.21</c:v>
                </c:pt>
                <c:pt idx="44">
                  <c:v>22.08.21</c:v>
                </c:pt>
                <c:pt idx="45">
                  <c:v>23.08.21</c:v>
                </c:pt>
                <c:pt idx="46">
                  <c:v>24.08.21</c:v>
                </c:pt>
                <c:pt idx="47">
                  <c:v>25.08.21</c:v>
                </c:pt>
                <c:pt idx="48">
                  <c:v>26.08.21</c:v>
                </c:pt>
                <c:pt idx="49">
                  <c:v>27.08.21</c:v>
                </c:pt>
                <c:pt idx="50">
                  <c:v>28.08.21</c:v>
                </c:pt>
                <c:pt idx="51">
                  <c:v>29.08.21</c:v>
                </c:pt>
                <c:pt idx="52">
                  <c:v>30.08.21</c:v>
                </c:pt>
                <c:pt idx="53">
                  <c:v>31.08.21</c:v>
                </c:pt>
                <c:pt idx="54">
                  <c:v>01.09.21</c:v>
                </c:pt>
                <c:pt idx="55">
                  <c:v>02.09.21</c:v>
                </c:pt>
                <c:pt idx="56">
                  <c:v>03.09.21</c:v>
                </c:pt>
                <c:pt idx="57">
                  <c:v>04.09.21</c:v>
                </c:pt>
                <c:pt idx="58">
                  <c:v>05.09.21</c:v>
                </c:pt>
                <c:pt idx="59">
                  <c:v>06.09.21</c:v>
                </c:pt>
                <c:pt idx="60">
                  <c:v>07.09.21</c:v>
                </c:pt>
                <c:pt idx="61">
                  <c:v>08.09.21</c:v>
                </c:pt>
                <c:pt idx="62">
                  <c:v>09.09.21</c:v>
                </c:pt>
                <c:pt idx="63">
                  <c:v>10.09.21</c:v>
                </c:pt>
                <c:pt idx="64">
                  <c:v>11.09.21</c:v>
                </c:pt>
                <c:pt idx="65">
                  <c:v>12.09.21</c:v>
                </c:pt>
                <c:pt idx="66">
                  <c:v>13.09.21</c:v>
                </c:pt>
                <c:pt idx="67">
                  <c:v>14.09.21</c:v>
                </c:pt>
                <c:pt idx="68">
                  <c:v>15.09.21</c:v>
                </c:pt>
                <c:pt idx="69">
                  <c:v>16.09.21</c:v>
                </c:pt>
                <c:pt idx="70">
                  <c:v>17.09.21</c:v>
                </c:pt>
                <c:pt idx="71">
                  <c:v>18.09.21</c:v>
                </c:pt>
                <c:pt idx="72">
                  <c:v>19.09.21</c:v>
                </c:pt>
                <c:pt idx="73">
                  <c:v>20.09.21</c:v>
                </c:pt>
                <c:pt idx="74">
                  <c:v>21.09.21</c:v>
                </c:pt>
                <c:pt idx="75">
                  <c:v>22.09.21</c:v>
                </c:pt>
                <c:pt idx="76">
                  <c:v>23.09.21</c:v>
                </c:pt>
                <c:pt idx="77">
                  <c:v>24.09.21</c:v>
                </c:pt>
                <c:pt idx="78">
                  <c:v>25.09.21</c:v>
                </c:pt>
                <c:pt idx="79">
                  <c:v>26.09.21</c:v>
                </c:pt>
                <c:pt idx="80">
                  <c:v>27.09.21</c:v>
                </c:pt>
                <c:pt idx="81">
                  <c:v>28.09.21</c:v>
                </c:pt>
                <c:pt idx="82">
                  <c:v>29.09.21</c:v>
                </c:pt>
                <c:pt idx="83">
                  <c:v>30.09.21</c:v>
                </c:pt>
                <c:pt idx="84">
                  <c:v>01.10.21</c:v>
                </c:pt>
                <c:pt idx="85">
                  <c:v>02.10.21</c:v>
                </c:pt>
                <c:pt idx="86">
                  <c:v>03.10.21</c:v>
                </c:pt>
                <c:pt idx="87">
                  <c:v>04.10.21</c:v>
                </c:pt>
                <c:pt idx="88">
                  <c:v>05.10.21</c:v>
                </c:pt>
                <c:pt idx="89">
                  <c:v>06.10.21</c:v>
                </c:pt>
                <c:pt idx="90">
                  <c:v>07.10.21</c:v>
                </c:pt>
                <c:pt idx="91">
                  <c:v>08.10.21</c:v>
                </c:pt>
                <c:pt idx="92">
                  <c:v>09.10.21</c:v>
                </c:pt>
                <c:pt idx="93">
                  <c:v>10.10.21</c:v>
                </c:pt>
                <c:pt idx="94">
                  <c:v>11.10.21</c:v>
                </c:pt>
                <c:pt idx="95">
                  <c:v>12.10.21</c:v>
                </c:pt>
                <c:pt idx="96">
                  <c:v>13.10.21</c:v>
                </c:pt>
                <c:pt idx="97">
                  <c:v>14.10.21</c:v>
                </c:pt>
                <c:pt idx="98">
                  <c:v>15.10.21</c:v>
                </c:pt>
                <c:pt idx="99">
                  <c:v>16.10.21</c:v>
                </c:pt>
                <c:pt idx="100">
                  <c:v>17.10.21</c:v>
                </c:pt>
                <c:pt idx="101">
                  <c:v>18.10.21</c:v>
                </c:pt>
                <c:pt idx="102">
                  <c:v>19.10.21</c:v>
                </c:pt>
                <c:pt idx="103">
                  <c:v>20.10.21</c:v>
                </c:pt>
                <c:pt idx="104">
                  <c:v>21.10.21</c:v>
                </c:pt>
                <c:pt idx="105">
                  <c:v>22.10.21</c:v>
                </c:pt>
                <c:pt idx="106">
                  <c:v>23.10.21</c:v>
                </c:pt>
                <c:pt idx="107">
                  <c:v>24.10.21</c:v>
                </c:pt>
                <c:pt idx="108">
                  <c:v>25.10.21</c:v>
                </c:pt>
                <c:pt idx="109">
                  <c:v>26.10.21</c:v>
                </c:pt>
                <c:pt idx="110">
                  <c:v>27.10.21</c:v>
                </c:pt>
                <c:pt idx="111">
                  <c:v>28.10.21</c:v>
                </c:pt>
                <c:pt idx="112">
                  <c:v>29.10.21</c:v>
                </c:pt>
                <c:pt idx="113">
                  <c:v>30.10.21</c:v>
                </c:pt>
                <c:pt idx="114">
                  <c:v>31.10.21</c:v>
                </c:pt>
                <c:pt idx="115">
                  <c:v>01.11.21</c:v>
                </c:pt>
                <c:pt idx="116">
                  <c:v>02.11.21</c:v>
                </c:pt>
                <c:pt idx="117">
                  <c:v>03.11.21</c:v>
                </c:pt>
                <c:pt idx="118">
                  <c:v>04.11.21</c:v>
                </c:pt>
                <c:pt idx="119">
                  <c:v>05.11.21</c:v>
                </c:pt>
                <c:pt idx="120">
                  <c:v>06.11.21</c:v>
                </c:pt>
                <c:pt idx="121">
                  <c:v>07.11.21</c:v>
                </c:pt>
                <c:pt idx="122">
                  <c:v>08.11.21</c:v>
                </c:pt>
                <c:pt idx="123">
                  <c:v>09.11.21</c:v>
                </c:pt>
                <c:pt idx="124">
                  <c:v>10.11.21</c:v>
                </c:pt>
                <c:pt idx="125">
                  <c:v>11.11.21</c:v>
                </c:pt>
                <c:pt idx="126">
                  <c:v>12.11.21</c:v>
                </c:pt>
                <c:pt idx="127">
                  <c:v>13.11.21</c:v>
                </c:pt>
                <c:pt idx="128">
                  <c:v>14.11.21</c:v>
                </c:pt>
                <c:pt idx="129">
                  <c:v>15.11.21</c:v>
                </c:pt>
                <c:pt idx="130">
                  <c:v>16.11.21</c:v>
                </c:pt>
                <c:pt idx="131">
                  <c:v>17.11.21</c:v>
                </c:pt>
                <c:pt idx="132">
                  <c:v>18.11.21</c:v>
                </c:pt>
                <c:pt idx="133">
                  <c:v>19.11.21</c:v>
                </c:pt>
                <c:pt idx="134">
                  <c:v>20.11.21</c:v>
                </c:pt>
                <c:pt idx="135">
                  <c:v>21.11.21</c:v>
                </c:pt>
                <c:pt idx="136">
                  <c:v>22.11.21</c:v>
                </c:pt>
                <c:pt idx="137">
                  <c:v>23.11.21</c:v>
                </c:pt>
                <c:pt idx="138">
                  <c:v>24.11.21</c:v>
                </c:pt>
                <c:pt idx="139">
                  <c:v>25.11.21</c:v>
                </c:pt>
                <c:pt idx="140">
                  <c:v>26.11.21</c:v>
                </c:pt>
                <c:pt idx="141">
                  <c:v>27.11.21</c:v>
                </c:pt>
                <c:pt idx="142">
                  <c:v>28.11.21</c:v>
                </c:pt>
                <c:pt idx="143">
                  <c:v>29.11.21</c:v>
                </c:pt>
                <c:pt idx="144">
                  <c:v>30.11.21</c:v>
                </c:pt>
                <c:pt idx="145">
                  <c:v>01.12.21</c:v>
                </c:pt>
                <c:pt idx="146">
                  <c:v>02.12.21</c:v>
                </c:pt>
                <c:pt idx="147">
                  <c:v>03.12.21</c:v>
                </c:pt>
                <c:pt idx="148">
                  <c:v>04.12.21</c:v>
                </c:pt>
                <c:pt idx="149">
                  <c:v>05.12.21</c:v>
                </c:pt>
                <c:pt idx="150">
                  <c:v>06.12.21</c:v>
                </c:pt>
                <c:pt idx="151">
                  <c:v>07.12.21</c:v>
                </c:pt>
                <c:pt idx="152">
                  <c:v>08.12.21</c:v>
                </c:pt>
                <c:pt idx="153">
                  <c:v>09.12.21</c:v>
                </c:pt>
                <c:pt idx="154">
                  <c:v>10.12.21</c:v>
                </c:pt>
                <c:pt idx="155">
                  <c:v>11.12.21</c:v>
                </c:pt>
                <c:pt idx="156">
                  <c:v>12.12.21</c:v>
                </c:pt>
                <c:pt idx="157">
                  <c:v>13.12.21</c:v>
                </c:pt>
                <c:pt idx="158">
                  <c:v>14.12.21</c:v>
                </c:pt>
                <c:pt idx="159">
                  <c:v>15.12.21</c:v>
                </c:pt>
                <c:pt idx="160">
                  <c:v>16.12.21</c:v>
                </c:pt>
                <c:pt idx="161">
                  <c:v>17.12.21</c:v>
                </c:pt>
                <c:pt idx="162">
                  <c:v>18.12.21</c:v>
                </c:pt>
                <c:pt idx="163">
                  <c:v>19.12.21</c:v>
                </c:pt>
                <c:pt idx="164">
                  <c:v>20.12.21</c:v>
                </c:pt>
                <c:pt idx="165">
                  <c:v>21.12.21</c:v>
                </c:pt>
                <c:pt idx="166">
                  <c:v>22.12.21</c:v>
                </c:pt>
                <c:pt idx="167">
                  <c:v>23.12.21</c:v>
                </c:pt>
                <c:pt idx="168">
                  <c:v>24.12.21</c:v>
                </c:pt>
                <c:pt idx="169">
                  <c:v>25.12.21</c:v>
                </c:pt>
                <c:pt idx="170">
                  <c:v>26.12.21</c:v>
                </c:pt>
                <c:pt idx="171">
                  <c:v>27.12.21</c:v>
                </c:pt>
                <c:pt idx="172">
                  <c:v>28.12.21</c:v>
                </c:pt>
                <c:pt idx="173">
                  <c:v>29.12.21</c:v>
                </c:pt>
                <c:pt idx="174">
                  <c:v>30.12.21</c:v>
                </c:pt>
                <c:pt idx="175">
                  <c:v>31.12.21</c:v>
                </c:pt>
                <c:pt idx="176">
                  <c:v>01.01.22</c:v>
                </c:pt>
                <c:pt idx="177">
                  <c:v>02.01.22</c:v>
                </c:pt>
                <c:pt idx="178">
                  <c:v>03.01.22</c:v>
                </c:pt>
                <c:pt idx="179">
                  <c:v>04.01.22</c:v>
                </c:pt>
                <c:pt idx="180">
                  <c:v>05.01.22</c:v>
                </c:pt>
                <c:pt idx="181">
                  <c:v>06.01.22</c:v>
                </c:pt>
                <c:pt idx="182">
                  <c:v>07.01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3</c:v>
                </c:pt>
                <c:pt idx="8">
                  <c:v>2</c:v>
                </c:pt>
                <c:pt idx="9">
                  <c:v>1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4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3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6</c:v>
                </c:pt>
                <c:pt idx="27">
                  <c:v>1</c:v>
                </c:pt>
                <c:pt idx="28">
                  <c:v>2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0</c:v>
                </c:pt>
                <c:pt idx="33">
                  <c:v>3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3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2</c:v>
                </c:pt>
                <c:pt idx="46">
                  <c:v>0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0</c:v>
                </c:pt>
                <c:pt idx="52">
                  <c:v>0</c:v>
                </c:pt>
                <c:pt idx="53">
                  <c:v>4</c:v>
                </c:pt>
                <c:pt idx="54">
                  <c:v>4</c:v>
                </c:pt>
                <c:pt idx="55">
                  <c:v>1</c:v>
                </c:pt>
                <c:pt idx="56">
                  <c:v>1</c:v>
                </c:pt>
                <c:pt idx="57">
                  <c:v>3</c:v>
                </c:pt>
                <c:pt idx="58">
                  <c:v>1</c:v>
                </c:pt>
                <c:pt idx="59">
                  <c:v>0</c:v>
                </c:pt>
                <c:pt idx="60">
                  <c:v>2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3</c:v>
                </c:pt>
                <c:pt idx="65">
                  <c:v>0</c:v>
                </c:pt>
                <c:pt idx="66">
                  <c:v>4</c:v>
                </c:pt>
                <c:pt idx="67">
                  <c:v>2</c:v>
                </c:pt>
                <c:pt idx="68">
                  <c:v>0</c:v>
                </c:pt>
                <c:pt idx="69">
                  <c:v>1</c:v>
                </c:pt>
                <c:pt idx="70">
                  <c:v>2</c:v>
                </c:pt>
                <c:pt idx="71">
                  <c:v>1</c:v>
                </c:pt>
                <c:pt idx="72">
                  <c:v>1</c:v>
                </c:pt>
                <c:pt idx="73">
                  <c:v>0</c:v>
                </c:pt>
                <c:pt idx="74">
                  <c:v>3</c:v>
                </c:pt>
                <c:pt idx="75">
                  <c:v>3</c:v>
                </c:pt>
                <c:pt idx="76">
                  <c:v>2</c:v>
                </c:pt>
                <c:pt idx="77">
                  <c:v>3</c:v>
                </c:pt>
                <c:pt idx="78">
                  <c:v>0</c:v>
                </c:pt>
                <c:pt idx="79">
                  <c:v>2</c:v>
                </c:pt>
                <c:pt idx="80">
                  <c:v>6</c:v>
                </c:pt>
                <c:pt idx="81">
                  <c:v>4</c:v>
                </c:pt>
                <c:pt idx="82">
                  <c:v>3</c:v>
                </c:pt>
                <c:pt idx="83">
                  <c:v>9</c:v>
                </c:pt>
                <c:pt idx="84">
                  <c:v>2</c:v>
                </c:pt>
                <c:pt idx="85">
                  <c:v>5</c:v>
                </c:pt>
                <c:pt idx="86">
                  <c:v>1</c:v>
                </c:pt>
                <c:pt idx="87">
                  <c:v>0</c:v>
                </c:pt>
                <c:pt idx="88">
                  <c:v>2</c:v>
                </c:pt>
                <c:pt idx="89">
                  <c:v>5</c:v>
                </c:pt>
                <c:pt idx="90">
                  <c:v>6</c:v>
                </c:pt>
                <c:pt idx="91">
                  <c:v>6</c:v>
                </c:pt>
                <c:pt idx="92">
                  <c:v>1</c:v>
                </c:pt>
                <c:pt idx="93">
                  <c:v>1</c:v>
                </c:pt>
                <c:pt idx="94">
                  <c:v>3</c:v>
                </c:pt>
                <c:pt idx="95">
                  <c:v>10</c:v>
                </c:pt>
                <c:pt idx="96">
                  <c:v>7</c:v>
                </c:pt>
                <c:pt idx="97">
                  <c:v>7</c:v>
                </c:pt>
                <c:pt idx="98">
                  <c:v>6</c:v>
                </c:pt>
                <c:pt idx="99">
                  <c:v>5</c:v>
                </c:pt>
                <c:pt idx="100">
                  <c:v>8</c:v>
                </c:pt>
                <c:pt idx="101">
                  <c:v>17</c:v>
                </c:pt>
                <c:pt idx="102">
                  <c:v>16</c:v>
                </c:pt>
                <c:pt idx="103">
                  <c:v>13</c:v>
                </c:pt>
                <c:pt idx="104">
                  <c:v>13</c:v>
                </c:pt>
                <c:pt idx="105">
                  <c:v>16</c:v>
                </c:pt>
                <c:pt idx="106">
                  <c:v>13</c:v>
                </c:pt>
                <c:pt idx="107">
                  <c:v>12</c:v>
                </c:pt>
                <c:pt idx="108">
                  <c:v>28</c:v>
                </c:pt>
                <c:pt idx="109">
                  <c:v>20</c:v>
                </c:pt>
                <c:pt idx="110">
                  <c:v>23</c:v>
                </c:pt>
                <c:pt idx="111">
                  <c:v>22</c:v>
                </c:pt>
                <c:pt idx="112">
                  <c:v>36</c:v>
                </c:pt>
                <c:pt idx="113">
                  <c:v>21</c:v>
                </c:pt>
                <c:pt idx="114">
                  <c:v>18</c:v>
                </c:pt>
                <c:pt idx="115">
                  <c:v>55</c:v>
                </c:pt>
                <c:pt idx="116">
                  <c:v>38</c:v>
                </c:pt>
                <c:pt idx="117">
                  <c:v>38</c:v>
                </c:pt>
                <c:pt idx="118">
                  <c:v>27</c:v>
                </c:pt>
                <c:pt idx="119">
                  <c:v>40</c:v>
                </c:pt>
                <c:pt idx="120">
                  <c:v>20</c:v>
                </c:pt>
                <c:pt idx="121">
                  <c:v>18</c:v>
                </c:pt>
                <c:pt idx="122">
                  <c:v>52</c:v>
                </c:pt>
                <c:pt idx="123">
                  <c:v>46</c:v>
                </c:pt>
                <c:pt idx="124">
                  <c:v>48</c:v>
                </c:pt>
                <c:pt idx="125">
                  <c:v>50</c:v>
                </c:pt>
                <c:pt idx="126">
                  <c:v>42</c:v>
                </c:pt>
                <c:pt idx="127">
                  <c:v>49</c:v>
                </c:pt>
                <c:pt idx="128">
                  <c:v>22</c:v>
                </c:pt>
                <c:pt idx="129">
                  <c:v>63</c:v>
                </c:pt>
                <c:pt idx="130">
                  <c:v>57</c:v>
                </c:pt>
                <c:pt idx="131">
                  <c:v>44</c:v>
                </c:pt>
                <c:pt idx="132">
                  <c:v>54</c:v>
                </c:pt>
                <c:pt idx="133">
                  <c:v>78</c:v>
                </c:pt>
                <c:pt idx="134">
                  <c:v>45</c:v>
                </c:pt>
                <c:pt idx="135">
                  <c:v>31</c:v>
                </c:pt>
                <c:pt idx="136">
                  <c:v>60</c:v>
                </c:pt>
                <c:pt idx="137">
                  <c:v>71</c:v>
                </c:pt>
                <c:pt idx="138">
                  <c:v>41</c:v>
                </c:pt>
                <c:pt idx="139">
                  <c:v>66</c:v>
                </c:pt>
                <c:pt idx="140">
                  <c:v>54</c:v>
                </c:pt>
                <c:pt idx="141">
                  <c:v>34</c:v>
                </c:pt>
                <c:pt idx="142">
                  <c:v>40</c:v>
                </c:pt>
                <c:pt idx="143">
                  <c:v>57</c:v>
                </c:pt>
                <c:pt idx="144">
                  <c:v>46</c:v>
                </c:pt>
                <c:pt idx="145">
                  <c:v>55</c:v>
                </c:pt>
                <c:pt idx="146">
                  <c:v>39</c:v>
                </c:pt>
                <c:pt idx="147">
                  <c:v>50</c:v>
                </c:pt>
                <c:pt idx="148">
                  <c:v>24</c:v>
                </c:pt>
                <c:pt idx="149">
                  <c:v>15</c:v>
                </c:pt>
                <c:pt idx="150">
                  <c:v>45</c:v>
                </c:pt>
                <c:pt idx="151">
                  <c:v>40</c:v>
                </c:pt>
                <c:pt idx="152">
                  <c:v>30</c:v>
                </c:pt>
                <c:pt idx="153">
                  <c:v>30</c:v>
                </c:pt>
                <c:pt idx="154">
                  <c:v>33</c:v>
                </c:pt>
                <c:pt idx="155">
                  <c:v>19</c:v>
                </c:pt>
                <c:pt idx="156">
                  <c:v>11</c:v>
                </c:pt>
                <c:pt idx="157">
                  <c:v>29</c:v>
                </c:pt>
                <c:pt idx="158">
                  <c:v>25</c:v>
                </c:pt>
                <c:pt idx="159">
                  <c:v>23</c:v>
                </c:pt>
                <c:pt idx="160">
                  <c:v>16</c:v>
                </c:pt>
                <c:pt idx="161">
                  <c:v>22</c:v>
                </c:pt>
                <c:pt idx="162">
                  <c:v>20</c:v>
                </c:pt>
                <c:pt idx="163">
                  <c:v>15</c:v>
                </c:pt>
                <c:pt idx="164">
                  <c:v>27</c:v>
                </c:pt>
                <c:pt idx="165">
                  <c:v>27</c:v>
                </c:pt>
                <c:pt idx="166">
                  <c:v>21</c:v>
                </c:pt>
                <c:pt idx="167">
                  <c:v>22</c:v>
                </c:pt>
                <c:pt idx="168">
                  <c:v>4</c:v>
                </c:pt>
                <c:pt idx="169">
                  <c:v>11</c:v>
                </c:pt>
                <c:pt idx="170">
                  <c:v>8</c:v>
                </c:pt>
                <c:pt idx="171">
                  <c:v>24</c:v>
                </c:pt>
                <c:pt idx="172">
                  <c:v>32</c:v>
                </c:pt>
                <c:pt idx="173">
                  <c:v>23</c:v>
                </c:pt>
                <c:pt idx="174">
                  <c:v>20</c:v>
                </c:pt>
                <c:pt idx="175">
                  <c:v>18</c:v>
                </c:pt>
                <c:pt idx="176">
                  <c:v>7</c:v>
                </c:pt>
                <c:pt idx="177">
                  <c:v>24</c:v>
                </c:pt>
                <c:pt idx="178">
                  <c:v>33</c:v>
                </c:pt>
                <c:pt idx="179">
                  <c:v>25</c:v>
                </c:pt>
                <c:pt idx="180">
                  <c:v>20</c:v>
                </c:pt>
                <c:pt idx="181">
                  <c:v>25</c:v>
                </c:pt>
                <c:pt idx="182">
                  <c:v>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6.9898053688695042E-8"/>
                  <c:y val="-2.331186538060957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44118952507763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9.07.21</c:v>
                </c:pt>
                <c:pt idx="1">
                  <c:v>10.07.21</c:v>
                </c:pt>
                <c:pt idx="2">
                  <c:v>11.07.21</c:v>
                </c:pt>
                <c:pt idx="3">
                  <c:v>12.07.21</c:v>
                </c:pt>
                <c:pt idx="4">
                  <c:v>13.07.21</c:v>
                </c:pt>
                <c:pt idx="5">
                  <c:v>14.07.21</c:v>
                </c:pt>
                <c:pt idx="6">
                  <c:v>15.07.21</c:v>
                </c:pt>
                <c:pt idx="7">
                  <c:v>16.07.21</c:v>
                </c:pt>
                <c:pt idx="8">
                  <c:v>17.07.21</c:v>
                </c:pt>
                <c:pt idx="9">
                  <c:v>18.07.21</c:v>
                </c:pt>
                <c:pt idx="10">
                  <c:v>19.07.21</c:v>
                </c:pt>
                <c:pt idx="11">
                  <c:v>20.07.21</c:v>
                </c:pt>
                <c:pt idx="12">
                  <c:v>21.07.21</c:v>
                </c:pt>
                <c:pt idx="13">
                  <c:v>22.07.21</c:v>
                </c:pt>
                <c:pt idx="14">
                  <c:v>23.07.21</c:v>
                </c:pt>
                <c:pt idx="15">
                  <c:v>24.07.21</c:v>
                </c:pt>
                <c:pt idx="16">
                  <c:v>25.07.21</c:v>
                </c:pt>
                <c:pt idx="17">
                  <c:v>26.07.21</c:v>
                </c:pt>
                <c:pt idx="18">
                  <c:v>27.07.21</c:v>
                </c:pt>
                <c:pt idx="19">
                  <c:v>28.07.21</c:v>
                </c:pt>
                <c:pt idx="20">
                  <c:v>29.07.21</c:v>
                </c:pt>
                <c:pt idx="21">
                  <c:v>30.07.21</c:v>
                </c:pt>
                <c:pt idx="22">
                  <c:v>31.07.21</c:v>
                </c:pt>
                <c:pt idx="23">
                  <c:v>01.08.21</c:v>
                </c:pt>
                <c:pt idx="24">
                  <c:v>02.08.21</c:v>
                </c:pt>
                <c:pt idx="25">
                  <c:v>03.08.21</c:v>
                </c:pt>
                <c:pt idx="26">
                  <c:v>04.08.21</c:v>
                </c:pt>
                <c:pt idx="27">
                  <c:v>05.08.21</c:v>
                </c:pt>
                <c:pt idx="28">
                  <c:v>06.08.21</c:v>
                </c:pt>
                <c:pt idx="29">
                  <c:v>07.08.21</c:v>
                </c:pt>
                <c:pt idx="30">
                  <c:v>08.08.21</c:v>
                </c:pt>
                <c:pt idx="31">
                  <c:v>09.08.21</c:v>
                </c:pt>
                <c:pt idx="32">
                  <c:v>10.08.21</c:v>
                </c:pt>
                <c:pt idx="33">
                  <c:v>11.08.21</c:v>
                </c:pt>
                <c:pt idx="34">
                  <c:v>12.08.21</c:v>
                </c:pt>
                <c:pt idx="35">
                  <c:v>13.08.21</c:v>
                </c:pt>
                <c:pt idx="36">
                  <c:v>14.08.21</c:v>
                </c:pt>
                <c:pt idx="37">
                  <c:v>15.08.21</c:v>
                </c:pt>
                <c:pt idx="38">
                  <c:v>16.08.21</c:v>
                </c:pt>
                <c:pt idx="39">
                  <c:v>17.08.21</c:v>
                </c:pt>
                <c:pt idx="40">
                  <c:v>18.08.21</c:v>
                </c:pt>
                <c:pt idx="41">
                  <c:v>19.08.21</c:v>
                </c:pt>
                <c:pt idx="42">
                  <c:v>20.08.21</c:v>
                </c:pt>
                <c:pt idx="43">
                  <c:v>21.08.21</c:v>
                </c:pt>
                <c:pt idx="44">
                  <c:v>22.08.21</c:v>
                </c:pt>
                <c:pt idx="45">
                  <c:v>23.08.21</c:v>
                </c:pt>
                <c:pt idx="46">
                  <c:v>24.08.21</c:v>
                </c:pt>
                <c:pt idx="47">
                  <c:v>25.08.21</c:v>
                </c:pt>
                <c:pt idx="48">
                  <c:v>26.08.21</c:v>
                </c:pt>
                <c:pt idx="49">
                  <c:v>27.08.21</c:v>
                </c:pt>
                <c:pt idx="50">
                  <c:v>28.08.21</c:v>
                </c:pt>
                <c:pt idx="51">
                  <c:v>29.08.21</c:v>
                </c:pt>
                <c:pt idx="52">
                  <c:v>30.08.21</c:v>
                </c:pt>
                <c:pt idx="53">
                  <c:v>31.08.21</c:v>
                </c:pt>
                <c:pt idx="54">
                  <c:v>01.09.21</c:v>
                </c:pt>
                <c:pt idx="55">
                  <c:v>02.09.21</c:v>
                </c:pt>
                <c:pt idx="56">
                  <c:v>03.09.21</c:v>
                </c:pt>
                <c:pt idx="57">
                  <c:v>04.09.21</c:v>
                </c:pt>
                <c:pt idx="58">
                  <c:v>05.09.21</c:v>
                </c:pt>
                <c:pt idx="59">
                  <c:v>06.09.21</c:v>
                </c:pt>
                <c:pt idx="60">
                  <c:v>07.09.21</c:v>
                </c:pt>
                <c:pt idx="61">
                  <c:v>08.09.21</c:v>
                </c:pt>
                <c:pt idx="62">
                  <c:v>09.09.21</c:v>
                </c:pt>
                <c:pt idx="63">
                  <c:v>10.09.21</c:v>
                </c:pt>
                <c:pt idx="64">
                  <c:v>11.09.21</c:v>
                </c:pt>
                <c:pt idx="65">
                  <c:v>12.09.21</c:v>
                </c:pt>
                <c:pt idx="66">
                  <c:v>13.09.21</c:v>
                </c:pt>
                <c:pt idx="67">
                  <c:v>14.09.21</c:v>
                </c:pt>
                <c:pt idx="68">
                  <c:v>15.09.21</c:v>
                </c:pt>
                <c:pt idx="69">
                  <c:v>16.09.21</c:v>
                </c:pt>
                <c:pt idx="70">
                  <c:v>17.09.21</c:v>
                </c:pt>
                <c:pt idx="71">
                  <c:v>18.09.21</c:v>
                </c:pt>
                <c:pt idx="72">
                  <c:v>19.09.21</c:v>
                </c:pt>
                <c:pt idx="73">
                  <c:v>20.09.21</c:v>
                </c:pt>
                <c:pt idx="74">
                  <c:v>21.09.21</c:v>
                </c:pt>
                <c:pt idx="75">
                  <c:v>22.09.21</c:v>
                </c:pt>
                <c:pt idx="76">
                  <c:v>23.09.21</c:v>
                </c:pt>
                <c:pt idx="77">
                  <c:v>24.09.21</c:v>
                </c:pt>
                <c:pt idx="78">
                  <c:v>25.09.21</c:v>
                </c:pt>
                <c:pt idx="79">
                  <c:v>26.09.21</c:v>
                </c:pt>
                <c:pt idx="80">
                  <c:v>27.09.21</c:v>
                </c:pt>
                <c:pt idx="81">
                  <c:v>28.09.21</c:v>
                </c:pt>
                <c:pt idx="82">
                  <c:v>29.09.21</c:v>
                </c:pt>
                <c:pt idx="83">
                  <c:v>30.09.21</c:v>
                </c:pt>
                <c:pt idx="84">
                  <c:v>01.10.21</c:v>
                </c:pt>
                <c:pt idx="85">
                  <c:v>02.10.21</c:v>
                </c:pt>
                <c:pt idx="86">
                  <c:v>03.10.21</c:v>
                </c:pt>
                <c:pt idx="87">
                  <c:v>04.10.21</c:v>
                </c:pt>
                <c:pt idx="88">
                  <c:v>05.10.21</c:v>
                </c:pt>
                <c:pt idx="89">
                  <c:v>06.10.21</c:v>
                </c:pt>
                <c:pt idx="90">
                  <c:v>07.10.21</c:v>
                </c:pt>
                <c:pt idx="91">
                  <c:v>08.10.21</c:v>
                </c:pt>
                <c:pt idx="92">
                  <c:v>09.10.21</c:v>
                </c:pt>
                <c:pt idx="93">
                  <c:v>10.10.21</c:v>
                </c:pt>
                <c:pt idx="94">
                  <c:v>11.10.21</c:v>
                </c:pt>
                <c:pt idx="95">
                  <c:v>12.10.21</c:v>
                </c:pt>
                <c:pt idx="96">
                  <c:v>13.10.21</c:v>
                </c:pt>
                <c:pt idx="97">
                  <c:v>14.10.21</c:v>
                </c:pt>
                <c:pt idx="98">
                  <c:v>15.10.21</c:v>
                </c:pt>
                <c:pt idx="99">
                  <c:v>16.10.21</c:v>
                </c:pt>
                <c:pt idx="100">
                  <c:v>17.10.21</c:v>
                </c:pt>
                <c:pt idx="101">
                  <c:v>18.10.21</c:v>
                </c:pt>
                <c:pt idx="102">
                  <c:v>19.10.21</c:v>
                </c:pt>
                <c:pt idx="103">
                  <c:v>20.10.21</c:v>
                </c:pt>
                <c:pt idx="104">
                  <c:v>21.10.21</c:v>
                </c:pt>
                <c:pt idx="105">
                  <c:v>22.10.21</c:v>
                </c:pt>
                <c:pt idx="106">
                  <c:v>23.10.21</c:v>
                </c:pt>
                <c:pt idx="107">
                  <c:v>24.10.21</c:v>
                </c:pt>
                <c:pt idx="108">
                  <c:v>25.10.21</c:v>
                </c:pt>
                <c:pt idx="109">
                  <c:v>26.10.21</c:v>
                </c:pt>
                <c:pt idx="110">
                  <c:v>27.10.21</c:v>
                </c:pt>
                <c:pt idx="111">
                  <c:v>28.10.21</c:v>
                </c:pt>
                <c:pt idx="112">
                  <c:v>29.10.21</c:v>
                </c:pt>
                <c:pt idx="113">
                  <c:v>30.10.21</c:v>
                </c:pt>
                <c:pt idx="114">
                  <c:v>31.10.21</c:v>
                </c:pt>
                <c:pt idx="115">
                  <c:v>01.11.21</c:v>
                </c:pt>
                <c:pt idx="116">
                  <c:v>02.11.21</c:v>
                </c:pt>
                <c:pt idx="117">
                  <c:v>03.11.21</c:v>
                </c:pt>
                <c:pt idx="118">
                  <c:v>04.11.21</c:v>
                </c:pt>
                <c:pt idx="119">
                  <c:v>05.11.21</c:v>
                </c:pt>
                <c:pt idx="120">
                  <c:v>06.11.21</c:v>
                </c:pt>
                <c:pt idx="121">
                  <c:v>07.11.21</c:v>
                </c:pt>
                <c:pt idx="122">
                  <c:v>08.11.21</c:v>
                </c:pt>
                <c:pt idx="123">
                  <c:v>09.11.21</c:v>
                </c:pt>
                <c:pt idx="124">
                  <c:v>10.11.21</c:v>
                </c:pt>
                <c:pt idx="125">
                  <c:v>11.11.21</c:v>
                </c:pt>
                <c:pt idx="126">
                  <c:v>12.11.21</c:v>
                </c:pt>
                <c:pt idx="127">
                  <c:v>13.11.21</c:v>
                </c:pt>
                <c:pt idx="128">
                  <c:v>14.11.21</c:v>
                </c:pt>
                <c:pt idx="129">
                  <c:v>15.11.21</c:v>
                </c:pt>
                <c:pt idx="130">
                  <c:v>16.11.21</c:v>
                </c:pt>
                <c:pt idx="131">
                  <c:v>17.11.21</c:v>
                </c:pt>
                <c:pt idx="132">
                  <c:v>18.11.21</c:v>
                </c:pt>
                <c:pt idx="133">
                  <c:v>19.11.21</c:v>
                </c:pt>
                <c:pt idx="134">
                  <c:v>20.11.21</c:v>
                </c:pt>
                <c:pt idx="135">
                  <c:v>21.11.21</c:v>
                </c:pt>
                <c:pt idx="136">
                  <c:v>22.11.21</c:v>
                </c:pt>
                <c:pt idx="137">
                  <c:v>23.11.21</c:v>
                </c:pt>
                <c:pt idx="138">
                  <c:v>24.11.21</c:v>
                </c:pt>
                <c:pt idx="139">
                  <c:v>25.11.21</c:v>
                </c:pt>
                <c:pt idx="140">
                  <c:v>26.11.21</c:v>
                </c:pt>
                <c:pt idx="141">
                  <c:v>27.11.21</c:v>
                </c:pt>
                <c:pt idx="142">
                  <c:v>28.11.21</c:v>
                </c:pt>
                <c:pt idx="143">
                  <c:v>29.11.21</c:v>
                </c:pt>
                <c:pt idx="144">
                  <c:v>30.11.21</c:v>
                </c:pt>
                <c:pt idx="145">
                  <c:v>01.12.21</c:v>
                </c:pt>
                <c:pt idx="146">
                  <c:v>02.12.21</c:v>
                </c:pt>
                <c:pt idx="147">
                  <c:v>03.12.21</c:v>
                </c:pt>
                <c:pt idx="148">
                  <c:v>04.12.21</c:v>
                </c:pt>
                <c:pt idx="149">
                  <c:v>05.12.21</c:v>
                </c:pt>
                <c:pt idx="150">
                  <c:v>06.12.21</c:v>
                </c:pt>
                <c:pt idx="151">
                  <c:v>07.12.21</c:v>
                </c:pt>
                <c:pt idx="152">
                  <c:v>08.12.21</c:v>
                </c:pt>
                <c:pt idx="153">
                  <c:v>09.12.21</c:v>
                </c:pt>
                <c:pt idx="154">
                  <c:v>10.12.21</c:v>
                </c:pt>
                <c:pt idx="155">
                  <c:v>11.12.21</c:v>
                </c:pt>
                <c:pt idx="156">
                  <c:v>12.12.21</c:v>
                </c:pt>
                <c:pt idx="157">
                  <c:v>13.12.21</c:v>
                </c:pt>
                <c:pt idx="158">
                  <c:v>14.12.21</c:v>
                </c:pt>
                <c:pt idx="159">
                  <c:v>15.12.21</c:v>
                </c:pt>
                <c:pt idx="160">
                  <c:v>16.12.21</c:v>
                </c:pt>
                <c:pt idx="161">
                  <c:v>17.12.21</c:v>
                </c:pt>
                <c:pt idx="162">
                  <c:v>18.12.21</c:v>
                </c:pt>
                <c:pt idx="163">
                  <c:v>19.12.21</c:v>
                </c:pt>
                <c:pt idx="164">
                  <c:v>20.12.21</c:v>
                </c:pt>
                <c:pt idx="165">
                  <c:v>21.12.21</c:v>
                </c:pt>
                <c:pt idx="166">
                  <c:v>22.12.21</c:v>
                </c:pt>
                <c:pt idx="167">
                  <c:v>23.12.21</c:v>
                </c:pt>
                <c:pt idx="168">
                  <c:v>24.12.21</c:v>
                </c:pt>
                <c:pt idx="169">
                  <c:v>25.12.21</c:v>
                </c:pt>
                <c:pt idx="170">
                  <c:v>26.12.21</c:v>
                </c:pt>
                <c:pt idx="171">
                  <c:v>27.12.21</c:v>
                </c:pt>
                <c:pt idx="172">
                  <c:v>28.12.21</c:v>
                </c:pt>
                <c:pt idx="173">
                  <c:v>29.12.21</c:v>
                </c:pt>
                <c:pt idx="174">
                  <c:v>30.12.21</c:v>
                </c:pt>
                <c:pt idx="175">
                  <c:v>31.12.21</c:v>
                </c:pt>
                <c:pt idx="176">
                  <c:v>01.01.22</c:v>
                </c:pt>
                <c:pt idx="177">
                  <c:v>02.01.22</c:v>
                </c:pt>
                <c:pt idx="178">
                  <c:v>03.01.22</c:v>
                </c:pt>
                <c:pt idx="179">
                  <c:v>04.01.22</c:v>
                </c:pt>
                <c:pt idx="180">
                  <c:v>05.01.22</c:v>
                </c:pt>
                <c:pt idx="181">
                  <c:v>06.01.22</c:v>
                </c:pt>
                <c:pt idx="182">
                  <c:v>07.01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3</c:v>
                </c:pt>
                <c:pt idx="5">
                  <c:v>2</c:v>
                </c:pt>
                <c:pt idx="6">
                  <c:v>2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4</c:v>
                </c:pt>
                <c:pt idx="11">
                  <c:v>0</c:v>
                </c:pt>
                <c:pt idx="12">
                  <c:v>4</c:v>
                </c:pt>
                <c:pt idx="13">
                  <c:v>0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3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2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1</c:v>
                </c:pt>
                <c:pt idx="35">
                  <c:v>2</c:v>
                </c:pt>
                <c:pt idx="36">
                  <c:v>3</c:v>
                </c:pt>
                <c:pt idx="37">
                  <c:v>1</c:v>
                </c:pt>
                <c:pt idx="38">
                  <c:v>3</c:v>
                </c:pt>
                <c:pt idx="39">
                  <c:v>3</c:v>
                </c:pt>
                <c:pt idx="40">
                  <c:v>2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4</c:v>
                </c:pt>
                <c:pt idx="46">
                  <c:v>2</c:v>
                </c:pt>
                <c:pt idx="47">
                  <c:v>0</c:v>
                </c:pt>
                <c:pt idx="48">
                  <c:v>2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0</c:v>
                </c:pt>
                <c:pt idx="53">
                  <c:v>2</c:v>
                </c:pt>
                <c:pt idx="54">
                  <c:v>1</c:v>
                </c:pt>
                <c:pt idx="55">
                  <c:v>5</c:v>
                </c:pt>
                <c:pt idx="56">
                  <c:v>6</c:v>
                </c:pt>
                <c:pt idx="57">
                  <c:v>1</c:v>
                </c:pt>
                <c:pt idx="58">
                  <c:v>0</c:v>
                </c:pt>
                <c:pt idx="59">
                  <c:v>2</c:v>
                </c:pt>
                <c:pt idx="60">
                  <c:v>6</c:v>
                </c:pt>
                <c:pt idx="61">
                  <c:v>1</c:v>
                </c:pt>
                <c:pt idx="62">
                  <c:v>4</c:v>
                </c:pt>
                <c:pt idx="63">
                  <c:v>0</c:v>
                </c:pt>
                <c:pt idx="64">
                  <c:v>1</c:v>
                </c:pt>
                <c:pt idx="65">
                  <c:v>2</c:v>
                </c:pt>
                <c:pt idx="66">
                  <c:v>3</c:v>
                </c:pt>
                <c:pt idx="67">
                  <c:v>4</c:v>
                </c:pt>
                <c:pt idx="68">
                  <c:v>3</c:v>
                </c:pt>
                <c:pt idx="69">
                  <c:v>7</c:v>
                </c:pt>
                <c:pt idx="70">
                  <c:v>5</c:v>
                </c:pt>
                <c:pt idx="71">
                  <c:v>2</c:v>
                </c:pt>
                <c:pt idx="72">
                  <c:v>2</c:v>
                </c:pt>
                <c:pt idx="73">
                  <c:v>10</c:v>
                </c:pt>
                <c:pt idx="74">
                  <c:v>7</c:v>
                </c:pt>
                <c:pt idx="75">
                  <c:v>6</c:v>
                </c:pt>
                <c:pt idx="76">
                  <c:v>5</c:v>
                </c:pt>
                <c:pt idx="77">
                  <c:v>7</c:v>
                </c:pt>
                <c:pt idx="78">
                  <c:v>6</c:v>
                </c:pt>
                <c:pt idx="79">
                  <c:v>6</c:v>
                </c:pt>
                <c:pt idx="80">
                  <c:v>5</c:v>
                </c:pt>
                <c:pt idx="81">
                  <c:v>7</c:v>
                </c:pt>
                <c:pt idx="82">
                  <c:v>12</c:v>
                </c:pt>
                <c:pt idx="83">
                  <c:v>15</c:v>
                </c:pt>
                <c:pt idx="84">
                  <c:v>7</c:v>
                </c:pt>
                <c:pt idx="85">
                  <c:v>5</c:v>
                </c:pt>
                <c:pt idx="86">
                  <c:v>8</c:v>
                </c:pt>
                <c:pt idx="87">
                  <c:v>10</c:v>
                </c:pt>
                <c:pt idx="88">
                  <c:v>12</c:v>
                </c:pt>
                <c:pt idx="89">
                  <c:v>9</c:v>
                </c:pt>
                <c:pt idx="90">
                  <c:v>8</c:v>
                </c:pt>
                <c:pt idx="91">
                  <c:v>9</c:v>
                </c:pt>
                <c:pt idx="92">
                  <c:v>5</c:v>
                </c:pt>
                <c:pt idx="93">
                  <c:v>4</c:v>
                </c:pt>
                <c:pt idx="94">
                  <c:v>17</c:v>
                </c:pt>
                <c:pt idx="95">
                  <c:v>17</c:v>
                </c:pt>
                <c:pt idx="96">
                  <c:v>20</c:v>
                </c:pt>
                <c:pt idx="97">
                  <c:v>19</c:v>
                </c:pt>
                <c:pt idx="98">
                  <c:v>17</c:v>
                </c:pt>
                <c:pt idx="99">
                  <c:v>10</c:v>
                </c:pt>
                <c:pt idx="100">
                  <c:v>10</c:v>
                </c:pt>
                <c:pt idx="101">
                  <c:v>32</c:v>
                </c:pt>
                <c:pt idx="102">
                  <c:v>25</c:v>
                </c:pt>
                <c:pt idx="103">
                  <c:v>24</c:v>
                </c:pt>
                <c:pt idx="104">
                  <c:v>49</c:v>
                </c:pt>
                <c:pt idx="105">
                  <c:v>38</c:v>
                </c:pt>
                <c:pt idx="106">
                  <c:v>31</c:v>
                </c:pt>
                <c:pt idx="107">
                  <c:v>11</c:v>
                </c:pt>
                <c:pt idx="108">
                  <c:v>58</c:v>
                </c:pt>
                <c:pt idx="109">
                  <c:v>63</c:v>
                </c:pt>
                <c:pt idx="110">
                  <c:v>71</c:v>
                </c:pt>
                <c:pt idx="111">
                  <c:v>32</c:v>
                </c:pt>
                <c:pt idx="112">
                  <c:v>76</c:v>
                </c:pt>
                <c:pt idx="113">
                  <c:v>56</c:v>
                </c:pt>
                <c:pt idx="114">
                  <c:v>37</c:v>
                </c:pt>
                <c:pt idx="115">
                  <c:v>103</c:v>
                </c:pt>
                <c:pt idx="116">
                  <c:v>100</c:v>
                </c:pt>
                <c:pt idx="117">
                  <c:v>107</c:v>
                </c:pt>
                <c:pt idx="118">
                  <c:v>95</c:v>
                </c:pt>
                <c:pt idx="119">
                  <c:v>107</c:v>
                </c:pt>
                <c:pt idx="120">
                  <c:v>78</c:v>
                </c:pt>
                <c:pt idx="121">
                  <c:v>25</c:v>
                </c:pt>
                <c:pt idx="122">
                  <c:v>120</c:v>
                </c:pt>
                <c:pt idx="123">
                  <c:v>133</c:v>
                </c:pt>
                <c:pt idx="124">
                  <c:v>164</c:v>
                </c:pt>
                <c:pt idx="125">
                  <c:v>91</c:v>
                </c:pt>
                <c:pt idx="126">
                  <c:v>150</c:v>
                </c:pt>
                <c:pt idx="127">
                  <c:v>86</c:v>
                </c:pt>
                <c:pt idx="128">
                  <c:v>52</c:v>
                </c:pt>
                <c:pt idx="129">
                  <c:v>148</c:v>
                </c:pt>
                <c:pt idx="130">
                  <c:v>214</c:v>
                </c:pt>
                <c:pt idx="131">
                  <c:v>106</c:v>
                </c:pt>
                <c:pt idx="132">
                  <c:v>152</c:v>
                </c:pt>
                <c:pt idx="133">
                  <c:v>213</c:v>
                </c:pt>
                <c:pt idx="134">
                  <c:v>145</c:v>
                </c:pt>
                <c:pt idx="135">
                  <c:v>78</c:v>
                </c:pt>
                <c:pt idx="136">
                  <c:v>181</c:v>
                </c:pt>
                <c:pt idx="137">
                  <c:v>239</c:v>
                </c:pt>
                <c:pt idx="138">
                  <c:v>129</c:v>
                </c:pt>
                <c:pt idx="139">
                  <c:v>197</c:v>
                </c:pt>
                <c:pt idx="140">
                  <c:v>177</c:v>
                </c:pt>
                <c:pt idx="141">
                  <c:v>99</c:v>
                </c:pt>
                <c:pt idx="142">
                  <c:v>74</c:v>
                </c:pt>
                <c:pt idx="143">
                  <c:v>187</c:v>
                </c:pt>
                <c:pt idx="144">
                  <c:v>148</c:v>
                </c:pt>
                <c:pt idx="145">
                  <c:v>155</c:v>
                </c:pt>
                <c:pt idx="146">
                  <c:v>133</c:v>
                </c:pt>
                <c:pt idx="147">
                  <c:v>127</c:v>
                </c:pt>
                <c:pt idx="148">
                  <c:v>79</c:v>
                </c:pt>
                <c:pt idx="149">
                  <c:v>59</c:v>
                </c:pt>
                <c:pt idx="150">
                  <c:v>150</c:v>
                </c:pt>
                <c:pt idx="151">
                  <c:v>143</c:v>
                </c:pt>
                <c:pt idx="152">
                  <c:v>108</c:v>
                </c:pt>
                <c:pt idx="153">
                  <c:v>118</c:v>
                </c:pt>
                <c:pt idx="154">
                  <c:v>104</c:v>
                </c:pt>
                <c:pt idx="155">
                  <c:v>70</c:v>
                </c:pt>
                <c:pt idx="156">
                  <c:v>50</c:v>
                </c:pt>
                <c:pt idx="157">
                  <c:v>95</c:v>
                </c:pt>
                <c:pt idx="158">
                  <c:v>113</c:v>
                </c:pt>
                <c:pt idx="159">
                  <c:v>77</c:v>
                </c:pt>
                <c:pt idx="160">
                  <c:v>60</c:v>
                </c:pt>
                <c:pt idx="161">
                  <c:v>71</c:v>
                </c:pt>
                <c:pt idx="162">
                  <c:v>45</c:v>
                </c:pt>
                <c:pt idx="163">
                  <c:v>29</c:v>
                </c:pt>
                <c:pt idx="164">
                  <c:v>82</c:v>
                </c:pt>
                <c:pt idx="165">
                  <c:v>74</c:v>
                </c:pt>
                <c:pt idx="166">
                  <c:v>49</c:v>
                </c:pt>
                <c:pt idx="167">
                  <c:v>55</c:v>
                </c:pt>
                <c:pt idx="168">
                  <c:v>17</c:v>
                </c:pt>
                <c:pt idx="169">
                  <c:v>18</c:v>
                </c:pt>
                <c:pt idx="170">
                  <c:v>16</c:v>
                </c:pt>
                <c:pt idx="171">
                  <c:v>71</c:v>
                </c:pt>
                <c:pt idx="172">
                  <c:v>84</c:v>
                </c:pt>
                <c:pt idx="173">
                  <c:v>50</c:v>
                </c:pt>
                <c:pt idx="174">
                  <c:v>46</c:v>
                </c:pt>
                <c:pt idx="175">
                  <c:v>43</c:v>
                </c:pt>
                <c:pt idx="176">
                  <c:v>10</c:v>
                </c:pt>
                <c:pt idx="177">
                  <c:v>33</c:v>
                </c:pt>
                <c:pt idx="178">
                  <c:v>80</c:v>
                </c:pt>
                <c:pt idx="179">
                  <c:v>66</c:v>
                </c:pt>
                <c:pt idx="180">
                  <c:v>44</c:v>
                </c:pt>
                <c:pt idx="181">
                  <c:v>49</c:v>
                </c:pt>
                <c:pt idx="182">
                  <c:v>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5.128803127217132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9.07.21</c:v>
                </c:pt>
                <c:pt idx="1">
                  <c:v>10.07.21</c:v>
                </c:pt>
                <c:pt idx="2">
                  <c:v>11.07.21</c:v>
                </c:pt>
                <c:pt idx="3">
                  <c:v>12.07.21</c:v>
                </c:pt>
                <c:pt idx="4">
                  <c:v>13.07.21</c:v>
                </c:pt>
                <c:pt idx="5">
                  <c:v>14.07.21</c:v>
                </c:pt>
                <c:pt idx="6">
                  <c:v>15.07.21</c:v>
                </c:pt>
                <c:pt idx="7">
                  <c:v>16.07.21</c:v>
                </c:pt>
                <c:pt idx="8">
                  <c:v>17.07.21</c:v>
                </c:pt>
                <c:pt idx="9">
                  <c:v>18.07.21</c:v>
                </c:pt>
                <c:pt idx="10">
                  <c:v>19.07.21</c:v>
                </c:pt>
                <c:pt idx="11">
                  <c:v>20.07.21</c:v>
                </c:pt>
                <c:pt idx="12">
                  <c:v>21.07.21</c:v>
                </c:pt>
                <c:pt idx="13">
                  <c:v>22.07.21</c:v>
                </c:pt>
                <c:pt idx="14">
                  <c:v>23.07.21</c:v>
                </c:pt>
                <c:pt idx="15">
                  <c:v>24.07.21</c:v>
                </c:pt>
                <c:pt idx="16">
                  <c:v>25.07.21</c:v>
                </c:pt>
                <c:pt idx="17">
                  <c:v>26.07.21</c:v>
                </c:pt>
                <c:pt idx="18">
                  <c:v>27.07.21</c:v>
                </c:pt>
                <c:pt idx="19">
                  <c:v>28.07.21</c:v>
                </c:pt>
                <c:pt idx="20">
                  <c:v>29.07.21</c:v>
                </c:pt>
                <c:pt idx="21">
                  <c:v>30.07.21</c:v>
                </c:pt>
                <c:pt idx="22">
                  <c:v>31.07.21</c:v>
                </c:pt>
                <c:pt idx="23">
                  <c:v>01.08.21</c:v>
                </c:pt>
                <c:pt idx="24">
                  <c:v>02.08.21</c:v>
                </c:pt>
                <c:pt idx="25">
                  <c:v>03.08.21</c:v>
                </c:pt>
                <c:pt idx="26">
                  <c:v>04.08.21</c:v>
                </c:pt>
                <c:pt idx="27">
                  <c:v>05.08.21</c:v>
                </c:pt>
                <c:pt idx="28">
                  <c:v>06.08.21</c:v>
                </c:pt>
                <c:pt idx="29">
                  <c:v>07.08.21</c:v>
                </c:pt>
                <c:pt idx="30">
                  <c:v>08.08.21</c:v>
                </c:pt>
                <c:pt idx="31">
                  <c:v>09.08.21</c:v>
                </c:pt>
                <c:pt idx="32">
                  <c:v>10.08.21</c:v>
                </c:pt>
                <c:pt idx="33">
                  <c:v>11.08.21</c:v>
                </c:pt>
                <c:pt idx="34">
                  <c:v>12.08.21</c:v>
                </c:pt>
                <c:pt idx="35">
                  <c:v>13.08.21</c:v>
                </c:pt>
                <c:pt idx="36">
                  <c:v>14.08.21</c:v>
                </c:pt>
                <c:pt idx="37">
                  <c:v>15.08.21</c:v>
                </c:pt>
                <c:pt idx="38">
                  <c:v>16.08.21</c:v>
                </c:pt>
                <c:pt idx="39">
                  <c:v>17.08.21</c:v>
                </c:pt>
                <c:pt idx="40">
                  <c:v>18.08.21</c:v>
                </c:pt>
                <c:pt idx="41">
                  <c:v>19.08.21</c:v>
                </c:pt>
                <c:pt idx="42">
                  <c:v>20.08.21</c:v>
                </c:pt>
                <c:pt idx="43">
                  <c:v>21.08.21</c:v>
                </c:pt>
                <c:pt idx="44">
                  <c:v>22.08.21</c:v>
                </c:pt>
                <c:pt idx="45">
                  <c:v>23.08.21</c:v>
                </c:pt>
                <c:pt idx="46">
                  <c:v>24.08.21</c:v>
                </c:pt>
                <c:pt idx="47">
                  <c:v>25.08.21</c:v>
                </c:pt>
                <c:pt idx="48">
                  <c:v>26.08.21</c:v>
                </c:pt>
                <c:pt idx="49">
                  <c:v>27.08.21</c:v>
                </c:pt>
                <c:pt idx="50">
                  <c:v>28.08.21</c:v>
                </c:pt>
                <c:pt idx="51">
                  <c:v>29.08.21</c:v>
                </c:pt>
                <c:pt idx="52">
                  <c:v>30.08.21</c:v>
                </c:pt>
                <c:pt idx="53">
                  <c:v>31.08.21</c:v>
                </c:pt>
                <c:pt idx="54">
                  <c:v>01.09.21</c:v>
                </c:pt>
                <c:pt idx="55">
                  <c:v>02.09.21</c:v>
                </c:pt>
                <c:pt idx="56">
                  <c:v>03.09.21</c:v>
                </c:pt>
                <c:pt idx="57">
                  <c:v>04.09.21</c:v>
                </c:pt>
                <c:pt idx="58">
                  <c:v>05.09.21</c:v>
                </c:pt>
                <c:pt idx="59">
                  <c:v>06.09.21</c:v>
                </c:pt>
                <c:pt idx="60">
                  <c:v>07.09.21</c:v>
                </c:pt>
                <c:pt idx="61">
                  <c:v>08.09.21</c:v>
                </c:pt>
                <c:pt idx="62">
                  <c:v>09.09.21</c:v>
                </c:pt>
                <c:pt idx="63">
                  <c:v>10.09.21</c:v>
                </c:pt>
                <c:pt idx="64">
                  <c:v>11.09.21</c:v>
                </c:pt>
                <c:pt idx="65">
                  <c:v>12.09.21</c:v>
                </c:pt>
                <c:pt idx="66">
                  <c:v>13.09.21</c:v>
                </c:pt>
                <c:pt idx="67">
                  <c:v>14.09.21</c:v>
                </c:pt>
                <c:pt idx="68">
                  <c:v>15.09.21</c:v>
                </c:pt>
                <c:pt idx="69">
                  <c:v>16.09.21</c:v>
                </c:pt>
                <c:pt idx="70">
                  <c:v>17.09.21</c:v>
                </c:pt>
                <c:pt idx="71">
                  <c:v>18.09.21</c:v>
                </c:pt>
                <c:pt idx="72">
                  <c:v>19.09.21</c:v>
                </c:pt>
                <c:pt idx="73">
                  <c:v>20.09.21</c:v>
                </c:pt>
                <c:pt idx="74">
                  <c:v>21.09.21</c:v>
                </c:pt>
                <c:pt idx="75">
                  <c:v>22.09.21</c:v>
                </c:pt>
                <c:pt idx="76">
                  <c:v>23.09.21</c:v>
                </c:pt>
                <c:pt idx="77">
                  <c:v>24.09.21</c:v>
                </c:pt>
                <c:pt idx="78">
                  <c:v>25.09.21</c:v>
                </c:pt>
                <c:pt idx="79">
                  <c:v>26.09.21</c:v>
                </c:pt>
                <c:pt idx="80">
                  <c:v>27.09.21</c:v>
                </c:pt>
                <c:pt idx="81">
                  <c:v>28.09.21</c:v>
                </c:pt>
                <c:pt idx="82">
                  <c:v>29.09.21</c:v>
                </c:pt>
                <c:pt idx="83">
                  <c:v>30.09.21</c:v>
                </c:pt>
                <c:pt idx="84">
                  <c:v>01.10.21</c:v>
                </c:pt>
                <c:pt idx="85">
                  <c:v>02.10.21</c:v>
                </c:pt>
                <c:pt idx="86">
                  <c:v>03.10.21</c:v>
                </c:pt>
                <c:pt idx="87">
                  <c:v>04.10.21</c:v>
                </c:pt>
                <c:pt idx="88">
                  <c:v>05.10.21</c:v>
                </c:pt>
                <c:pt idx="89">
                  <c:v>06.10.21</c:v>
                </c:pt>
                <c:pt idx="90">
                  <c:v>07.10.21</c:v>
                </c:pt>
                <c:pt idx="91">
                  <c:v>08.10.21</c:v>
                </c:pt>
                <c:pt idx="92">
                  <c:v>09.10.21</c:v>
                </c:pt>
                <c:pt idx="93">
                  <c:v>10.10.21</c:v>
                </c:pt>
                <c:pt idx="94">
                  <c:v>11.10.21</c:v>
                </c:pt>
                <c:pt idx="95">
                  <c:v>12.10.21</c:v>
                </c:pt>
                <c:pt idx="96">
                  <c:v>13.10.21</c:v>
                </c:pt>
                <c:pt idx="97">
                  <c:v>14.10.21</c:v>
                </c:pt>
                <c:pt idx="98">
                  <c:v>15.10.21</c:v>
                </c:pt>
                <c:pt idx="99">
                  <c:v>16.10.21</c:v>
                </c:pt>
                <c:pt idx="100">
                  <c:v>17.10.21</c:v>
                </c:pt>
                <c:pt idx="101">
                  <c:v>18.10.21</c:v>
                </c:pt>
                <c:pt idx="102">
                  <c:v>19.10.21</c:v>
                </c:pt>
                <c:pt idx="103">
                  <c:v>20.10.21</c:v>
                </c:pt>
                <c:pt idx="104">
                  <c:v>21.10.21</c:v>
                </c:pt>
                <c:pt idx="105">
                  <c:v>22.10.21</c:v>
                </c:pt>
                <c:pt idx="106">
                  <c:v>23.10.21</c:v>
                </c:pt>
                <c:pt idx="107">
                  <c:v>24.10.21</c:v>
                </c:pt>
                <c:pt idx="108">
                  <c:v>25.10.21</c:v>
                </c:pt>
                <c:pt idx="109">
                  <c:v>26.10.21</c:v>
                </c:pt>
                <c:pt idx="110">
                  <c:v>27.10.21</c:v>
                </c:pt>
                <c:pt idx="111">
                  <c:v>28.10.21</c:v>
                </c:pt>
                <c:pt idx="112">
                  <c:v>29.10.21</c:v>
                </c:pt>
                <c:pt idx="113">
                  <c:v>30.10.21</c:v>
                </c:pt>
                <c:pt idx="114">
                  <c:v>31.10.21</c:v>
                </c:pt>
                <c:pt idx="115">
                  <c:v>01.11.21</c:v>
                </c:pt>
                <c:pt idx="116">
                  <c:v>02.11.21</c:v>
                </c:pt>
                <c:pt idx="117">
                  <c:v>03.11.21</c:v>
                </c:pt>
                <c:pt idx="118">
                  <c:v>04.11.21</c:v>
                </c:pt>
                <c:pt idx="119">
                  <c:v>05.11.21</c:v>
                </c:pt>
                <c:pt idx="120">
                  <c:v>06.11.21</c:v>
                </c:pt>
                <c:pt idx="121">
                  <c:v>07.11.21</c:v>
                </c:pt>
                <c:pt idx="122">
                  <c:v>08.11.21</c:v>
                </c:pt>
                <c:pt idx="123">
                  <c:v>09.11.21</c:v>
                </c:pt>
                <c:pt idx="124">
                  <c:v>10.11.21</c:v>
                </c:pt>
                <c:pt idx="125">
                  <c:v>11.11.21</c:v>
                </c:pt>
                <c:pt idx="126">
                  <c:v>12.11.21</c:v>
                </c:pt>
                <c:pt idx="127">
                  <c:v>13.11.21</c:v>
                </c:pt>
                <c:pt idx="128">
                  <c:v>14.11.21</c:v>
                </c:pt>
                <c:pt idx="129">
                  <c:v>15.11.21</c:v>
                </c:pt>
                <c:pt idx="130">
                  <c:v>16.11.21</c:v>
                </c:pt>
                <c:pt idx="131">
                  <c:v>17.11.21</c:v>
                </c:pt>
                <c:pt idx="132">
                  <c:v>18.11.21</c:v>
                </c:pt>
                <c:pt idx="133">
                  <c:v>19.11.21</c:v>
                </c:pt>
                <c:pt idx="134">
                  <c:v>20.11.21</c:v>
                </c:pt>
                <c:pt idx="135">
                  <c:v>21.11.21</c:v>
                </c:pt>
                <c:pt idx="136">
                  <c:v>22.11.21</c:v>
                </c:pt>
                <c:pt idx="137">
                  <c:v>23.11.21</c:v>
                </c:pt>
                <c:pt idx="138">
                  <c:v>24.11.21</c:v>
                </c:pt>
                <c:pt idx="139">
                  <c:v>25.11.21</c:v>
                </c:pt>
                <c:pt idx="140">
                  <c:v>26.11.21</c:v>
                </c:pt>
                <c:pt idx="141">
                  <c:v>27.11.21</c:v>
                </c:pt>
                <c:pt idx="142">
                  <c:v>28.11.21</c:v>
                </c:pt>
                <c:pt idx="143">
                  <c:v>29.11.21</c:v>
                </c:pt>
                <c:pt idx="144">
                  <c:v>30.11.21</c:v>
                </c:pt>
                <c:pt idx="145">
                  <c:v>01.12.21</c:v>
                </c:pt>
                <c:pt idx="146">
                  <c:v>02.12.21</c:v>
                </c:pt>
                <c:pt idx="147">
                  <c:v>03.12.21</c:v>
                </c:pt>
                <c:pt idx="148">
                  <c:v>04.12.21</c:v>
                </c:pt>
                <c:pt idx="149">
                  <c:v>05.12.21</c:v>
                </c:pt>
                <c:pt idx="150">
                  <c:v>06.12.21</c:v>
                </c:pt>
                <c:pt idx="151">
                  <c:v>07.12.21</c:v>
                </c:pt>
                <c:pt idx="152">
                  <c:v>08.12.21</c:v>
                </c:pt>
                <c:pt idx="153">
                  <c:v>09.12.21</c:v>
                </c:pt>
                <c:pt idx="154">
                  <c:v>10.12.21</c:v>
                </c:pt>
                <c:pt idx="155">
                  <c:v>11.12.21</c:v>
                </c:pt>
                <c:pt idx="156">
                  <c:v>12.12.21</c:v>
                </c:pt>
                <c:pt idx="157">
                  <c:v>13.12.21</c:v>
                </c:pt>
                <c:pt idx="158">
                  <c:v>14.12.21</c:v>
                </c:pt>
                <c:pt idx="159">
                  <c:v>15.12.21</c:v>
                </c:pt>
                <c:pt idx="160">
                  <c:v>16.12.21</c:v>
                </c:pt>
                <c:pt idx="161">
                  <c:v>17.12.21</c:v>
                </c:pt>
                <c:pt idx="162">
                  <c:v>18.12.21</c:v>
                </c:pt>
                <c:pt idx="163">
                  <c:v>19.12.21</c:v>
                </c:pt>
                <c:pt idx="164">
                  <c:v>20.12.21</c:v>
                </c:pt>
                <c:pt idx="165">
                  <c:v>21.12.21</c:v>
                </c:pt>
                <c:pt idx="166">
                  <c:v>22.12.21</c:v>
                </c:pt>
                <c:pt idx="167">
                  <c:v>23.12.21</c:v>
                </c:pt>
                <c:pt idx="168">
                  <c:v>24.12.21</c:v>
                </c:pt>
                <c:pt idx="169">
                  <c:v>25.12.21</c:v>
                </c:pt>
                <c:pt idx="170">
                  <c:v>26.12.21</c:v>
                </c:pt>
                <c:pt idx="171">
                  <c:v>27.12.21</c:v>
                </c:pt>
                <c:pt idx="172">
                  <c:v>28.12.21</c:v>
                </c:pt>
                <c:pt idx="173">
                  <c:v>29.12.21</c:v>
                </c:pt>
                <c:pt idx="174">
                  <c:v>30.12.21</c:v>
                </c:pt>
                <c:pt idx="175">
                  <c:v>31.12.21</c:v>
                </c:pt>
                <c:pt idx="176">
                  <c:v>01.01.22</c:v>
                </c:pt>
                <c:pt idx="177">
                  <c:v>02.01.22</c:v>
                </c:pt>
                <c:pt idx="178">
                  <c:v>03.01.22</c:v>
                </c:pt>
                <c:pt idx="179">
                  <c:v>04.01.22</c:v>
                </c:pt>
                <c:pt idx="180">
                  <c:v>05.01.22</c:v>
                </c:pt>
                <c:pt idx="181">
                  <c:v>06.01.22</c:v>
                </c:pt>
                <c:pt idx="182">
                  <c:v>07.01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4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4</c:v>
                </c:pt>
                <c:pt idx="6">
                  <c:v>2</c:v>
                </c:pt>
                <c:pt idx="7">
                  <c:v>5</c:v>
                </c:pt>
                <c:pt idx="8">
                  <c:v>1</c:v>
                </c:pt>
                <c:pt idx="9">
                  <c:v>1</c:v>
                </c:pt>
                <c:pt idx="10">
                  <c:v>4</c:v>
                </c:pt>
                <c:pt idx="11">
                  <c:v>5</c:v>
                </c:pt>
                <c:pt idx="12">
                  <c:v>1</c:v>
                </c:pt>
                <c:pt idx="13">
                  <c:v>3</c:v>
                </c:pt>
                <c:pt idx="14">
                  <c:v>2</c:v>
                </c:pt>
                <c:pt idx="15">
                  <c:v>0</c:v>
                </c:pt>
                <c:pt idx="16">
                  <c:v>2</c:v>
                </c:pt>
                <c:pt idx="17">
                  <c:v>3</c:v>
                </c:pt>
                <c:pt idx="18">
                  <c:v>4</c:v>
                </c:pt>
                <c:pt idx="19">
                  <c:v>1</c:v>
                </c:pt>
                <c:pt idx="20">
                  <c:v>3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2</c:v>
                </c:pt>
                <c:pt idx="25">
                  <c:v>3</c:v>
                </c:pt>
                <c:pt idx="26">
                  <c:v>3</c:v>
                </c:pt>
                <c:pt idx="27">
                  <c:v>1</c:v>
                </c:pt>
                <c:pt idx="28">
                  <c:v>2</c:v>
                </c:pt>
                <c:pt idx="29">
                  <c:v>1</c:v>
                </c:pt>
                <c:pt idx="30">
                  <c:v>0</c:v>
                </c:pt>
                <c:pt idx="31">
                  <c:v>7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6</c:v>
                </c:pt>
                <c:pt idx="36">
                  <c:v>2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0</c:v>
                </c:pt>
                <c:pt idx="42">
                  <c:v>3</c:v>
                </c:pt>
                <c:pt idx="43">
                  <c:v>2</c:v>
                </c:pt>
                <c:pt idx="44">
                  <c:v>2</c:v>
                </c:pt>
                <c:pt idx="45">
                  <c:v>1</c:v>
                </c:pt>
                <c:pt idx="46">
                  <c:v>3</c:v>
                </c:pt>
                <c:pt idx="47">
                  <c:v>5</c:v>
                </c:pt>
                <c:pt idx="48">
                  <c:v>2</c:v>
                </c:pt>
                <c:pt idx="49">
                  <c:v>2</c:v>
                </c:pt>
                <c:pt idx="50">
                  <c:v>0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4</c:v>
                </c:pt>
                <c:pt idx="56">
                  <c:v>6</c:v>
                </c:pt>
                <c:pt idx="57">
                  <c:v>5</c:v>
                </c:pt>
                <c:pt idx="58">
                  <c:v>1</c:v>
                </c:pt>
                <c:pt idx="59">
                  <c:v>5</c:v>
                </c:pt>
                <c:pt idx="60">
                  <c:v>4</c:v>
                </c:pt>
                <c:pt idx="61">
                  <c:v>1</c:v>
                </c:pt>
                <c:pt idx="62">
                  <c:v>3</c:v>
                </c:pt>
                <c:pt idx="63">
                  <c:v>2</c:v>
                </c:pt>
                <c:pt idx="64">
                  <c:v>0</c:v>
                </c:pt>
                <c:pt idx="65">
                  <c:v>3</c:v>
                </c:pt>
                <c:pt idx="66">
                  <c:v>2</c:v>
                </c:pt>
                <c:pt idx="67">
                  <c:v>3</c:v>
                </c:pt>
                <c:pt idx="68">
                  <c:v>5</c:v>
                </c:pt>
                <c:pt idx="69">
                  <c:v>7</c:v>
                </c:pt>
                <c:pt idx="70">
                  <c:v>4</c:v>
                </c:pt>
                <c:pt idx="71">
                  <c:v>2</c:v>
                </c:pt>
                <c:pt idx="72">
                  <c:v>5</c:v>
                </c:pt>
                <c:pt idx="73">
                  <c:v>8</c:v>
                </c:pt>
                <c:pt idx="74">
                  <c:v>9</c:v>
                </c:pt>
                <c:pt idx="75">
                  <c:v>8</c:v>
                </c:pt>
                <c:pt idx="76">
                  <c:v>5</c:v>
                </c:pt>
                <c:pt idx="77">
                  <c:v>4</c:v>
                </c:pt>
                <c:pt idx="78">
                  <c:v>4</c:v>
                </c:pt>
                <c:pt idx="79">
                  <c:v>2</c:v>
                </c:pt>
                <c:pt idx="80">
                  <c:v>7</c:v>
                </c:pt>
                <c:pt idx="81">
                  <c:v>6</c:v>
                </c:pt>
                <c:pt idx="82">
                  <c:v>8</c:v>
                </c:pt>
                <c:pt idx="83">
                  <c:v>12</c:v>
                </c:pt>
                <c:pt idx="84">
                  <c:v>8</c:v>
                </c:pt>
                <c:pt idx="85">
                  <c:v>4</c:v>
                </c:pt>
                <c:pt idx="86">
                  <c:v>7</c:v>
                </c:pt>
                <c:pt idx="87">
                  <c:v>9</c:v>
                </c:pt>
                <c:pt idx="88">
                  <c:v>12</c:v>
                </c:pt>
                <c:pt idx="89">
                  <c:v>13</c:v>
                </c:pt>
                <c:pt idx="90">
                  <c:v>15</c:v>
                </c:pt>
                <c:pt idx="91">
                  <c:v>8</c:v>
                </c:pt>
                <c:pt idx="92">
                  <c:v>7</c:v>
                </c:pt>
                <c:pt idx="93">
                  <c:v>5</c:v>
                </c:pt>
                <c:pt idx="94">
                  <c:v>19</c:v>
                </c:pt>
                <c:pt idx="95">
                  <c:v>31</c:v>
                </c:pt>
                <c:pt idx="96">
                  <c:v>18</c:v>
                </c:pt>
                <c:pt idx="97">
                  <c:v>16</c:v>
                </c:pt>
                <c:pt idx="98">
                  <c:v>14</c:v>
                </c:pt>
                <c:pt idx="99">
                  <c:v>9</c:v>
                </c:pt>
                <c:pt idx="100">
                  <c:v>13</c:v>
                </c:pt>
                <c:pt idx="101">
                  <c:v>38</c:v>
                </c:pt>
                <c:pt idx="102">
                  <c:v>53</c:v>
                </c:pt>
                <c:pt idx="103">
                  <c:v>48</c:v>
                </c:pt>
                <c:pt idx="104">
                  <c:v>53</c:v>
                </c:pt>
                <c:pt idx="105">
                  <c:v>42</c:v>
                </c:pt>
                <c:pt idx="106">
                  <c:v>27</c:v>
                </c:pt>
                <c:pt idx="107">
                  <c:v>20</c:v>
                </c:pt>
                <c:pt idx="108">
                  <c:v>76</c:v>
                </c:pt>
                <c:pt idx="109">
                  <c:v>81</c:v>
                </c:pt>
                <c:pt idx="110">
                  <c:v>64</c:v>
                </c:pt>
                <c:pt idx="111">
                  <c:v>38</c:v>
                </c:pt>
                <c:pt idx="112">
                  <c:v>79</c:v>
                </c:pt>
                <c:pt idx="113">
                  <c:v>51</c:v>
                </c:pt>
                <c:pt idx="114">
                  <c:v>40</c:v>
                </c:pt>
                <c:pt idx="115">
                  <c:v>130</c:v>
                </c:pt>
                <c:pt idx="116">
                  <c:v>128</c:v>
                </c:pt>
                <c:pt idx="117">
                  <c:v>102</c:v>
                </c:pt>
                <c:pt idx="118">
                  <c:v>107</c:v>
                </c:pt>
                <c:pt idx="119">
                  <c:v>127</c:v>
                </c:pt>
                <c:pt idx="120">
                  <c:v>53</c:v>
                </c:pt>
                <c:pt idx="121">
                  <c:v>37</c:v>
                </c:pt>
                <c:pt idx="122">
                  <c:v>127</c:v>
                </c:pt>
                <c:pt idx="123">
                  <c:v>138</c:v>
                </c:pt>
                <c:pt idx="124">
                  <c:v>139</c:v>
                </c:pt>
                <c:pt idx="125">
                  <c:v>113</c:v>
                </c:pt>
                <c:pt idx="126">
                  <c:v>158</c:v>
                </c:pt>
                <c:pt idx="127">
                  <c:v>94</c:v>
                </c:pt>
                <c:pt idx="128">
                  <c:v>49</c:v>
                </c:pt>
                <c:pt idx="129">
                  <c:v>156</c:v>
                </c:pt>
                <c:pt idx="130">
                  <c:v>192</c:v>
                </c:pt>
                <c:pt idx="131">
                  <c:v>140</c:v>
                </c:pt>
                <c:pt idx="132">
                  <c:v>157</c:v>
                </c:pt>
                <c:pt idx="133">
                  <c:v>239</c:v>
                </c:pt>
                <c:pt idx="134">
                  <c:v>118</c:v>
                </c:pt>
                <c:pt idx="135">
                  <c:v>88</c:v>
                </c:pt>
                <c:pt idx="136">
                  <c:v>197</c:v>
                </c:pt>
                <c:pt idx="137">
                  <c:v>203</c:v>
                </c:pt>
                <c:pt idx="138">
                  <c:v>170</c:v>
                </c:pt>
                <c:pt idx="139">
                  <c:v>246</c:v>
                </c:pt>
                <c:pt idx="140">
                  <c:v>141</c:v>
                </c:pt>
                <c:pt idx="141">
                  <c:v>107</c:v>
                </c:pt>
                <c:pt idx="142">
                  <c:v>81</c:v>
                </c:pt>
                <c:pt idx="143">
                  <c:v>199</c:v>
                </c:pt>
                <c:pt idx="144">
                  <c:v>176</c:v>
                </c:pt>
                <c:pt idx="145">
                  <c:v>157</c:v>
                </c:pt>
                <c:pt idx="146">
                  <c:v>124</c:v>
                </c:pt>
                <c:pt idx="147">
                  <c:v>152</c:v>
                </c:pt>
                <c:pt idx="148">
                  <c:v>94</c:v>
                </c:pt>
                <c:pt idx="149">
                  <c:v>64</c:v>
                </c:pt>
                <c:pt idx="150">
                  <c:v>187</c:v>
                </c:pt>
                <c:pt idx="151">
                  <c:v>157</c:v>
                </c:pt>
                <c:pt idx="152">
                  <c:v>128</c:v>
                </c:pt>
                <c:pt idx="153">
                  <c:v>107</c:v>
                </c:pt>
                <c:pt idx="154">
                  <c:v>88</c:v>
                </c:pt>
                <c:pt idx="155">
                  <c:v>74</c:v>
                </c:pt>
                <c:pt idx="156">
                  <c:v>59</c:v>
                </c:pt>
                <c:pt idx="157">
                  <c:v>114</c:v>
                </c:pt>
                <c:pt idx="158">
                  <c:v>164</c:v>
                </c:pt>
                <c:pt idx="159">
                  <c:v>89</c:v>
                </c:pt>
                <c:pt idx="160">
                  <c:v>86</c:v>
                </c:pt>
                <c:pt idx="161">
                  <c:v>91</c:v>
                </c:pt>
                <c:pt idx="162">
                  <c:v>58</c:v>
                </c:pt>
                <c:pt idx="163">
                  <c:v>40</c:v>
                </c:pt>
                <c:pt idx="164">
                  <c:v>99</c:v>
                </c:pt>
                <c:pt idx="165">
                  <c:v>90</c:v>
                </c:pt>
                <c:pt idx="166">
                  <c:v>43</c:v>
                </c:pt>
                <c:pt idx="167">
                  <c:v>66</c:v>
                </c:pt>
                <c:pt idx="168">
                  <c:v>20</c:v>
                </c:pt>
                <c:pt idx="169">
                  <c:v>12</c:v>
                </c:pt>
                <c:pt idx="170">
                  <c:v>21</c:v>
                </c:pt>
                <c:pt idx="171">
                  <c:v>67</c:v>
                </c:pt>
                <c:pt idx="172">
                  <c:v>91</c:v>
                </c:pt>
                <c:pt idx="173">
                  <c:v>59</c:v>
                </c:pt>
                <c:pt idx="174">
                  <c:v>58</c:v>
                </c:pt>
                <c:pt idx="175">
                  <c:v>72</c:v>
                </c:pt>
                <c:pt idx="176">
                  <c:v>12</c:v>
                </c:pt>
                <c:pt idx="177">
                  <c:v>21</c:v>
                </c:pt>
                <c:pt idx="178">
                  <c:v>90</c:v>
                </c:pt>
                <c:pt idx="179">
                  <c:v>85</c:v>
                </c:pt>
                <c:pt idx="180">
                  <c:v>68</c:v>
                </c:pt>
                <c:pt idx="181">
                  <c:v>61</c:v>
                </c:pt>
                <c:pt idx="182">
                  <c:v>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9.07.21</c:v>
                </c:pt>
                <c:pt idx="1">
                  <c:v>10.07.21</c:v>
                </c:pt>
                <c:pt idx="2">
                  <c:v>11.07.21</c:v>
                </c:pt>
                <c:pt idx="3">
                  <c:v>12.07.21</c:v>
                </c:pt>
                <c:pt idx="4">
                  <c:v>13.07.21</c:v>
                </c:pt>
                <c:pt idx="5">
                  <c:v>14.07.21</c:v>
                </c:pt>
                <c:pt idx="6">
                  <c:v>15.07.21</c:v>
                </c:pt>
                <c:pt idx="7">
                  <c:v>16.07.21</c:v>
                </c:pt>
                <c:pt idx="8">
                  <c:v>17.07.21</c:v>
                </c:pt>
                <c:pt idx="9">
                  <c:v>18.07.21</c:v>
                </c:pt>
                <c:pt idx="10">
                  <c:v>19.07.21</c:v>
                </c:pt>
                <c:pt idx="11">
                  <c:v>20.07.21</c:v>
                </c:pt>
                <c:pt idx="12">
                  <c:v>21.07.21</c:v>
                </c:pt>
                <c:pt idx="13">
                  <c:v>22.07.21</c:v>
                </c:pt>
                <c:pt idx="14">
                  <c:v>23.07.21</c:v>
                </c:pt>
                <c:pt idx="15">
                  <c:v>24.07.21</c:v>
                </c:pt>
                <c:pt idx="16">
                  <c:v>25.07.21</c:v>
                </c:pt>
                <c:pt idx="17">
                  <c:v>26.07.21</c:v>
                </c:pt>
                <c:pt idx="18">
                  <c:v>27.07.21</c:v>
                </c:pt>
                <c:pt idx="19">
                  <c:v>28.07.21</c:v>
                </c:pt>
                <c:pt idx="20">
                  <c:v>29.07.21</c:v>
                </c:pt>
                <c:pt idx="21">
                  <c:v>30.07.21</c:v>
                </c:pt>
                <c:pt idx="22">
                  <c:v>31.07.21</c:v>
                </c:pt>
                <c:pt idx="23">
                  <c:v>01.08.21</c:v>
                </c:pt>
                <c:pt idx="24">
                  <c:v>02.08.21</c:v>
                </c:pt>
                <c:pt idx="25">
                  <c:v>03.08.21</c:v>
                </c:pt>
                <c:pt idx="26">
                  <c:v>04.08.21</c:v>
                </c:pt>
                <c:pt idx="27">
                  <c:v>05.08.21</c:v>
                </c:pt>
                <c:pt idx="28">
                  <c:v>06.08.21</c:v>
                </c:pt>
                <c:pt idx="29">
                  <c:v>07.08.21</c:v>
                </c:pt>
                <c:pt idx="30">
                  <c:v>08.08.21</c:v>
                </c:pt>
                <c:pt idx="31">
                  <c:v>09.08.21</c:v>
                </c:pt>
                <c:pt idx="32">
                  <c:v>10.08.21</c:v>
                </c:pt>
                <c:pt idx="33">
                  <c:v>11.08.21</c:v>
                </c:pt>
                <c:pt idx="34">
                  <c:v>12.08.21</c:v>
                </c:pt>
                <c:pt idx="35">
                  <c:v>13.08.21</c:v>
                </c:pt>
                <c:pt idx="36">
                  <c:v>14.08.21</c:v>
                </c:pt>
                <c:pt idx="37">
                  <c:v>15.08.21</c:v>
                </c:pt>
                <c:pt idx="38">
                  <c:v>16.08.21</c:v>
                </c:pt>
                <c:pt idx="39">
                  <c:v>17.08.21</c:v>
                </c:pt>
                <c:pt idx="40">
                  <c:v>18.08.21</c:v>
                </c:pt>
                <c:pt idx="41">
                  <c:v>19.08.21</c:v>
                </c:pt>
                <c:pt idx="42">
                  <c:v>20.08.21</c:v>
                </c:pt>
                <c:pt idx="43">
                  <c:v>21.08.21</c:v>
                </c:pt>
                <c:pt idx="44">
                  <c:v>22.08.21</c:v>
                </c:pt>
                <c:pt idx="45">
                  <c:v>23.08.21</c:v>
                </c:pt>
                <c:pt idx="46">
                  <c:v>24.08.21</c:v>
                </c:pt>
                <c:pt idx="47">
                  <c:v>25.08.21</c:v>
                </c:pt>
                <c:pt idx="48">
                  <c:v>26.08.21</c:v>
                </c:pt>
                <c:pt idx="49">
                  <c:v>27.08.21</c:v>
                </c:pt>
                <c:pt idx="50">
                  <c:v>28.08.21</c:v>
                </c:pt>
                <c:pt idx="51">
                  <c:v>29.08.21</c:v>
                </c:pt>
                <c:pt idx="52">
                  <c:v>30.08.21</c:v>
                </c:pt>
                <c:pt idx="53">
                  <c:v>31.08.21</c:v>
                </c:pt>
                <c:pt idx="54">
                  <c:v>01.09.21</c:v>
                </c:pt>
                <c:pt idx="55">
                  <c:v>02.09.21</c:v>
                </c:pt>
                <c:pt idx="56">
                  <c:v>03.09.21</c:v>
                </c:pt>
                <c:pt idx="57">
                  <c:v>04.09.21</c:v>
                </c:pt>
                <c:pt idx="58">
                  <c:v>05.09.21</c:v>
                </c:pt>
                <c:pt idx="59">
                  <c:v>06.09.21</c:v>
                </c:pt>
                <c:pt idx="60">
                  <c:v>07.09.21</c:v>
                </c:pt>
                <c:pt idx="61">
                  <c:v>08.09.21</c:v>
                </c:pt>
                <c:pt idx="62">
                  <c:v>09.09.21</c:v>
                </c:pt>
                <c:pt idx="63">
                  <c:v>10.09.21</c:v>
                </c:pt>
                <c:pt idx="64">
                  <c:v>11.09.21</c:v>
                </c:pt>
                <c:pt idx="65">
                  <c:v>12.09.21</c:v>
                </c:pt>
                <c:pt idx="66">
                  <c:v>13.09.21</c:v>
                </c:pt>
                <c:pt idx="67">
                  <c:v>14.09.21</c:v>
                </c:pt>
                <c:pt idx="68">
                  <c:v>15.09.21</c:v>
                </c:pt>
                <c:pt idx="69">
                  <c:v>16.09.21</c:v>
                </c:pt>
                <c:pt idx="70">
                  <c:v>17.09.21</c:v>
                </c:pt>
                <c:pt idx="71">
                  <c:v>18.09.21</c:v>
                </c:pt>
                <c:pt idx="72">
                  <c:v>19.09.21</c:v>
                </c:pt>
                <c:pt idx="73">
                  <c:v>20.09.21</c:v>
                </c:pt>
                <c:pt idx="74">
                  <c:v>21.09.21</c:v>
                </c:pt>
                <c:pt idx="75">
                  <c:v>22.09.21</c:v>
                </c:pt>
                <c:pt idx="76">
                  <c:v>23.09.21</c:v>
                </c:pt>
                <c:pt idx="77">
                  <c:v>24.09.21</c:v>
                </c:pt>
                <c:pt idx="78">
                  <c:v>25.09.21</c:v>
                </c:pt>
                <c:pt idx="79">
                  <c:v>26.09.21</c:v>
                </c:pt>
                <c:pt idx="80">
                  <c:v>27.09.21</c:v>
                </c:pt>
                <c:pt idx="81">
                  <c:v>28.09.21</c:v>
                </c:pt>
                <c:pt idx="82">
                  <c:v>29.09.21</c:v>
                </c:pt>
                <c:pt idx="83">
                  <c:v>30.09.21</c:v>
                </c:pt>
                <c:pt idx="84">
                  <c:v>01.10.21</c:v>
                </c:pt>
                <c:pt idx="85">
                  <c:v>02.10.21</c:v>
                </c:pt>
                <c:pt idx="86">
                  <c:v>03.10.21</c:v>
                </c:pt>
                <c:pt idx="87">
                  <c:v>04.10.21</c:v>
                </c:pt>
                <c:pt idx="88">
                  <c:v>05.10.21</c:v>
                </c:pt>
                <c:pt idx="89">
                  <c:v>06.10.21</c:v>
                </c:pt>
                <c:pt idx="90">
                  <c:v>07.10.21</c:v>
                </c:pt>
                <c:pt idx="91">
                  <c:v>08.10.21</c:v>
                </c:pt>
                <c:pt idx="92">
                  <c:v>09.10.21</c:v>
                </c:pt>
                <c:pt idx="93">
                  <c:v>10.10.21</c:v>
                </c:pt>
                <c:pt idx="94">
                  <c:v>11.10.21</c:v>
                </c:pt>
                <c:pt idx="95">
                  <c:v>12.10.21</c:v>
                </c:pt>
                <c:pt idx="96">
                  <c:v>13.10.21</c:v>
                </c:pt>
                <c:pt idx="97">
                  <c:v>14.10.21</c:v>
                </c:pt>
                <c:pt idx="98">
                  <c:v>15.10.21</c:v>
                </c:pt>
                <c:pt idx="99">
                  <c:v>16.10.21</c:v>
                </c:pt>
                <c:pt idx="100">
                  <c:v>17.10.21</c:v>
                </c:pt>
                <c:pt idx="101">
                  <c:v>18.10.21</c:v>
                </c:pt>
                <c:pt idx="102">
                  <c:v>19.10.21</c:v>
                </c:pt>
                <c:pt idx="103">
                  <c:v>20.10.21</c:v>
                </c:pt>
                <c:pt idx="104">
                  <c:v>21.10.21</c:v>
                </c:pt>
                <c:pt idx="105">
                  <c:v>22.10.21</c:v>
                </c:pt>
                <c:pt idx="106">
                  <c:v>23.10.21</c:v>
                </c:pt>
                <c:pt idx="107">
                  <c:v>24.10.21</c:v>
                </c:pt>
                <c:pt idx="108">
                  <c:v>25.10.21</c:v>
                </c:pt>
                <c:pt idx="109">
                  <c:v>26.10.21</c:v>
                </c:pt>
                <c:pt idx="110">
                  <c:v>27.10.21</c:v>
                </c:pt>
                <c:pt idx="111">
                  <c:v>28.10.21</c:v>
                </c:pt>
                <c:pt idx="112">
                  <c:v>29.10.21</c:v>
                </c:pt>
                <c:pt idx="113">
                  <c:v>30.10.21</c:v>
                </c:pt>
                <c:pt idx="114">
                  <c:v>31.10.21</c:v>
                </c:pt>
                <c:pt idx="115">
                  <c:v>01.11.21</c:v>
                </c:pt>
                <c:pt idx="116">
                  <c:v>02.11.21</c:v>
                </c:pt>
                <c:pt idx="117">
                  <c:v>03.11.21</c:v>
                </c:pt>
                <c:pt idx="118">
                  <c:v>04.11.21</c:v>
                </c:pt>
                <c:pt idx="119">
                  <c:v>05.11.21</c:v>
                </c:pt>
                <c:pt idx="120">
                  <c:v>06.11.21</c:v>
                </c:pt>
                <c:pt idx="121">
                  <c:v>07.11.21</c:v>
                </c:pt>
                <c:pt idx="122">
                  <c:v>08.11.21</c:v>
                </c:pt>
                <c:pt idx="123">
                  <c:v>09.11.21</c:v>
                </c:pt>
                <c:pt idx="124">
                  <c:v>10.11.21</c:v>
                </c:pt>
                <c:pt idx="125">
                  <c:v>11.11.21</c:v>
                </c:pt>
                <c:pt idx="126">
                  <c:v>12.11.21</c:v>
                </c:pt>
                <c:pt idx="127">
                  <c:v>13.11.21</c:v>
                </c:pt>
                <c:pt idx="128">
                  <c:v>14.11.21</c:v>
                </c:pt>
                <c:pt idx="129">
                  <c:v>15.11.21</c:v>
                </c:pt>
                <c:pt idx="130">
                  <c:v>16.11.21</c:v>
                </c:pt>
                <c:pt idx="131">
                  <c:v>17.11.21</c:v>
                </c:pt>
                <c:pt idx="132">
                  <c:v>18.11.21</c:v>
                </c:pt>
                <c:pt idx="133">
                  <c:v>19.11.21</c:v>
                </c:pt>
                <c:pt idx="134">
                  <c:v>20.11.21</c:v>
                </c:pt>
                <c:pt idx="135">
                  <c:v>21.11.21</c:v>
                </c:pt>
                <c:pt idx="136">
                  <c:v>22.11.21</c:v>
                </c:pt>
                <c:pt idx="137">
                  <c:v>23.11.21</c:v>
                </c:pt>
                <c:pt idx="138">
                  <c:v>24.11.21</c:v>
                </c:pt>
                <c:pt idx="139">
                  <c:v>25.11.21</c:v>
                </c:pt>
                <c:pt idx="140">
                  <c:v>26.11.21</c:v>
                </c:pt>
                <c:pt idx="141">
                  <c:v>27.11.21</c:v>
                </c:pt>
                <c:pt idx="142">
                  <c:v>28.11.21</c:v>
                </c:pt>
                <c:pt idx="143">
                  <c:v>29.11.21</c:v>
                </c:pt>
                <c:pt idx="144">
                  <c:v>30.11.21</c:v>
                </c:pt>
                <c:pt idx="145">
                  <c:v>01.12.21</c:v>
                </c:pt>
                <c:pt idx="146">
                  <c:v>02.12.21</c:v>
                </c:pt>
                <c:pt idx="147">
                  <c:v>03.12.21</c:v>
                </c:pt>
                <c:pt idx="148">
                  <c:v>04.12.21</c:v>
                </c:pt>
                <c:pt idx="149">
                  <c:v>05.12.21</c:v>
                </c:pt>
                <c:pt idx="150">
                  <c:v>06.12.21</c:v>
                </c:pt>
                <c:pt idx="151">
                  <c:v>07.12.21</c:v>
                </c:pt>
                <c:pt idx="152">
                  <c:v>08.12.21</c:v>
                </c:pt>
                <c:pt idx="153">
                  <c:v>09.12.21</c:v>
                </c:pt>
                <c:pt idx="154">
                  <c:v>10.12.21</c:v>
                </c:pt>
                <c:pt idx="155">
                  <c:v>11.12.21</c:v>
                </c:pt>
                <c:pt idx="156">
                  <c:v>12.12.21</c:v>
                </c:pt>
                <c:pt idx="157">
                  <c:v>13.12.21</c:v>
                </c:pt>
                <c:pt idx="158">
                  <c:v>14.12.21</c:v>
                </c:pt>
                <c:pt idx="159">
                  <c:v>15.12.21</c:v>
                </c:pt>
                <c:pt idx="160">
                  <c:v>16.12.21</c:v>
                </c:pt>
                <c:pt idx="161">
                  <c:v>17.12.21</c:v>
                </c:pt>
                <c:pt idx="162">
                  <c:v>18.12.21</c:v>
                </c:pt>
                <c:pt idx="163">
                  <c:v>19.12.21</c:v>
                </c:pt>
                <c:pt idx="164">
                  <c:v>20.12.21</c:v>
                </c:pt>
                <c:pt idx="165">
                  <c:v>21.12.21</c:v>
                </c:pt>
                <c:pt idx="166">
                  <c:v>22.12.21</c:v>
                </c:pt>
                <c:pt idx="167">
                  <c:v>23.12.21</c:v>
                </c:pt>
                <c:pt idx="168">
                  <c:v>24.12.21</c:v>
                </c:pt>
                <c:pt idx="169">
                  <c:v>25.12.21</c:v>
                </c:pt>
                <c:pt idx="170">
                  <c:v>26.12.21</c:v>
                </c:pt>
                <c:pt idx="171">
                  <c:v>27.12.21</c:v>
                </c:pt>
                <c:pt idx="172">
                  <c:v>28.12.21</c:v>
                </c:pt>
                <c:pt idx="173">
                  <c:v>29.12.21</c:v>
                </c:pt>
                <c:pt idx="174">
                  <c:v>30.12.21</c:v>
                </c:pt>
                <c:pt idx="175">
                  <c:v>31.12.21</c:v>
                </c:pt>
                <c:pt idx="176">
                  <c:v>01.01.22</c:v>
                </c:pt>
                <c:pt idx="177">
                  <c:v>02.01.22</c:v>
                </c:pt>
                <c:pt idx="178">
                  <c:v>03.01.22</c:v>
                </c:pt>
                <c:pt idx="179">
                  <c:v>04.01.22</c:v>
                </c:pt>
                <c:pt idx="180">
                  <c:v>05.01.22</c:v>
                </c:pt>
                <c:pt idx="181">
                  <c:v>06.01.22</c:v>
                </c:pt>
                <c:pt idx="182">
                  <c:v>07.01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2</c:v>
                </c:pt>
                <c:pt idx="4">
                  <c:v>13</c:v>
                </c:pt>
                <c:pt idx="5">
                  <c:v>12</c:v>
                </c:pt>
                <c:pt idx="6">
                  <c:v>12</c:v>
                </c:pt>
                <c:pt idx="7">
                  <c:v>15</c:v>
                </c:pt>
                <c:pt idx="8">
                  <c:v>17</c:v>
                </c:pt>
                <c:pt idx="9">
                  <c:v>17</c:v>
                </c:pt>
                <c:pt idx="10">
                  <c:v>19</c:v>
                </c:pt>
                <c:pt idx="11">
                  <c:v>21</c:v>
                </c:pt>
                <c:pt idx="12">
                  <c:v>23</c:v>
                </c:pt>
                <c:pt idx="13">
                  <c:v>26</c:v>
                </c:pt>
                <c:pt idx="14">
                  <c:v>25</c:v>
                </c:pt>
                <c:pt idx="15">
                  <c:v>25</c:v>
                </c:pt>
                <c:pt idx="16">
                  <c:v>26</c:v>
                </c:pt>
                <c:pt idx="17">
                  <c:v>26</c:v>
                </c:pt>
                <c:pt idx="18">
                  <c:v>27</c:v>
                </c:pt>
                <c:pt idx="19">
                  <c:v>28</c:v>
                </c:pt>
                <c:pt idx="20">
                  <c:v>29</c:v>
                </c:pt>
                <c:pt idx="21">
                  <c:v>27</c:v>
                </c:pt>
                <c:pt idx="22">
                  <c:v>26</c:v>
                </c:pt>
                <c:pt idx="23">
                  <c:v>25</c:v>
                </c:pt>
                <c:pt idx="24">
                  <c:v>23</c:v>
                </c:pt>
                <c:pt idx="25">
                  <c:v>21</c:v>
                </c:pt>
                <c:pt idx="26">
                  <c:v>24</c:v>
                </c:pt>
                <c:pt idx="27">
                  <c:v>22</c:v>
                </c:pt>
                <c:pt idx="28">
                  <c:v>24</c:v>
                </c:pt>
                <c:pt idx="29">
                  <c:v>21</c:v>
                </c:pt>
                <c:pt idx="30">
                  <c:v>23</c:v>
                </c:pt>
                <c:pt idx="31">
                  <c:v>23</c:v>
                </c:pt>
                <c:pt idx="32">
                  <c:v>23</c:v>
                </c:pt>
                <c:pt idx="33">
                  <c:v>23</c:v>
                </c:pt>
                <c:pt idx="34">
                  <c:v>24</c:v>
                </c:pt>
                <c:pt idx="35">
                  <c:v>24</c:v>
                </c:pt>
                <c:pt idx="36">
                  <c:v>24</c:v>
                </c:pt>
                <c:pt idx="37">
                  <c:v>24</c:v>
                </c:pt>
                <c:pt idx="38">
                  <c:v>27</c:v>
                </c:pt>
                <c:pt idx="39">
                  <c:v>24</c:v>
                </c:pt>
                <c:pt idx="40">
                  <c:v>21</c:v>
                </c:pt>
                <c:pt idx="41">
                  <c:v>21</c:v>
                </c:pt>
                <c:pt idx="42">
                  <c:v>20</c:v>
                </c:pt>
                <c:pt idx="43">
                  <c:v>19</c:v>
                </c:pt>
                <c:pt idx="44">
                  <c:v>17</c:v>
                </c:pt>
                <c:pt idx="45">
                  <c:v>18</c:v>
                </c:pt>
                <c:pt idx="46">
                  <c:v>17</c:v>
                </c:pt>
                <c:pt idx="47">
                  <c:v>15</c:v>
                </c:pt>
                <c:pt idx="48">
                  <c:v>16</c:v>
                </c:pt>
                <c:pt idx="49">
                  <c:v>16</c:v>
                </c:pt>
                <c:pt idx="50">
                  <c:v>17</c:v>
                </c:pt>
                <c:pt idx="51">
                  <c:v>16</c:v>
                </c:pt>
                <c:pt idx="52">
                  <c:v>14</c:v>
                </c:pt>
                <c:pt idx="53">
                  <c:v>18</c:v>
                </c:pt>
                <c:pt idx="54">
                  <c:v>21</c:v>
                </c:pt>
                <c:pt idx="55">
                  <c:v>22</c:v>
                </c:pt>
                <c:pt idx="56">
                  <c:v>22</c:v>
                </c:pt>
                <c:pt idx="57">
                  <c:v>25</c:v>
                </c:pt>
                <c:pt idx="58">
                  <c:v>26</c:v>
                </c:pt>
                <c:pt idx="59">
                  <c:v>24</c:v>
                </c:pt>
                <c:pt idx="60">
                  <c:v>25</c:v>
                </c:pt>
                <c:pt idx="61">
                  <c:v>24</c:v>
                </c:pt>
                <c:pt idx="62">
                  <c:v>24</c:v>
                </c:pt>
                <c:pt idx="63">
                  <c:v>25</c:v>
                </c:pt>
                <c:pt idx="64">
                  <c:v>28</c:v>
                </c:pt>
                <c:pt idx="65">
                  <c:v>27</c:v>
                </c:pt>
                <c:pt idx="66">
                  <c:v>29</c:v>
                </c:pt>
                <c:pt idx="67">
                  <c:v>28</c:v>
                </c:pt>
                <c:pt idx="68">
                  <c:v>25</c:v>
                </c:pt>
                <c:pt idx="69">
                  <c:v>26</c:v>
                </c:pt>
                <c:pt idx="70">
                  <c:v>26</c:v>
                </c:pt>
                <c:pt idx="71">
                  <c:v>25</c:v>
                </c:pt>
                <c:pt idx="72">
                  <c:v>25</c:v>
                </c:pt>
                <c:pt idx="73">
                  <c:v>23</c:v>
                </c:pt>
                <c:pt idx="74">
                  <c:v>26</c:v>
                </c:pt>
                <c:pt idx="75">
                  <c:v>29</c:v>
                </c:pt>
                <c:pt idx="76">
                  <c:v>29</c:v>
                </c:pt>
                <c:pt idx="77">
                  <c:v>30</c:v>
                </c:pt>
                <c:pt idx="78">
                  <c:v>28</c:v>
                </c:pt>
                <c:pt idx="79">
                  <c:v>28</c:v>
                </c:pt>
                <c:pt idx="80">
                  <c:v>30</c:v>
                </c:pt>
                <c:pt idx="81">
                  <c:v>34</c:v>
                </c:pt>
                <c:pt idx="82">
                  <c:v>37</c:v>
                </c:pt>
                <c:pt idx="83">
                  <c:v>45</c:v>
                </c:pt>
                <c:pt idx="84">
                  <c:v>46</c:v>
                </c:pt>
                <c:pt idx="85">
                  <c:v>50</c:v>
                </c:pt>
                <c:pt idx="86">
                  <c:v>50</c:v>
                </c:pt>
                <c:pt idx="87">
                  <c:v>49</c:v>
                </c:pt>
                <c:pt idx="88">
                  <c:v>48</c:v>
                </c:pt>
                <c:pt idx="89">
                  <c:v>49</c:v>
                </c:pt>
                <c:pt idx="90">
                  <c:v>54</c:v>
                </c:pt>
                <c:pt idx="91">
                  <c:v>57</c:v>
                </c:pt>
                <c:pt idx="92">
                  <c:v>58</c:v>
                </c:pt>
                <c:pt idx="93">
                  <c:v>57</c:v>
                </c:pt>
                <c:pt idx="94">
                  <c:v>51</c:v>
                </c:pt>
                <c:pt idx="95">
                  <c:v>60</c:v>
                </c:pt>
                <c:pt idx="96">
                  <c:v>57</c:v>
                </c:pt>
                <c:pt idx="97">
                  <c:v>60</c:v>
                </c:pt>
                <c:pt idx="98">
                  <c:v>63</c:v>
                </c:pt>
                <c:pt idx="99">
                  <c:v>66</c:v>
                </c:pt>
                <c:pt idx="100">
                  <c:v>72</c:v>
                </c:pt>
                <c:pt idx="101">
                  <c:v>89</c:v>
                </c:pt>
                <c:pt idx="102">
                  <c:v>102</c:v>
                </c:pt>
                <c:pt idx="103">
                  <c:v>110</c:v>
                </c:pt>
                <c:pt idx="104">
                  <c:v>117</c:v>
                </c:pt>
                <c:pt idx="105">
                  <c:v>128</c:v>
                </c:pt>
                <c:pt idx="106">
                  <c:v>141</c:v>
                </c:pt>
                <c:pt idx="107">
                  <c:v>151</c:v>
                </c:pt>
                <c:pt idx="108">
                  <c:v>176</c:v>
                </c:pt>
                <c:pt idx="109">
                  <c:v>183</c:v>
                </c:pt>
                <c:pt idx="110">
                  <c:v>202</c:v>
                </c:pt>
                <c:pt idx="111">
                  <c:v>216</c:v>
                </c:pt>
                <c:pt idx="112">
                  <c:v>246</c:v>
                </c:pt>
                <c:pt idx="113">
                  <c:v>262</c:v>
                </c:pt>
                <c:pt idx="114">
                  <c:v>268</c:v>
                </c:pt>
                <c:pt idx="115">
                  <c:v>307</c:v>
                </c:pt>
                <c:pt idx="116">
                  <c:v>329</c:v>
                </c:pt>
                <c:pt idx="117">
                  <c:v>352</c:v>
                </c:pt>
                <c:pt idx="118">
                  <c:v>366</c:v>
                </c:pt>
                <c:pt idx="119">
                  <c:v>384</c:v>
                </c:pt>
                <c:pt idx="120">
                  <c:v>392</c:v>
                </c:pt>
                <c:pt idx="121">
                  <c:v>400</c:v>
                </c:pt>
                <c:pt idx="122">
                  <c:v>421</c:v>
                </c:pt>
                <c:pt idx="123">
                  <c:v>451</c:v>
                </c:pt>
                <c:pt idx="124">
                  <c:v>468</c:v>
                </c:pt>
                <c:pt idx="125">
                  <c:v>501</c:v>
                </c:pt>
                <c:pt idx="126">
                  <c:v>500</c:v>
                </c:pt>
                <c:pt idx="127">
                  <c:v>535</c:v>
                </c:pt>
                <c:pt idx="128">
                  <c:v>540</c:v>
                </c:pt>
                <c:pt idx="129">
                  <c:v>539</c:v>
                </c:pt>
                <c:pt idx="130">
                  <c:v>565</c:v>
                </c:pt>
                <c:pt idx="131">
                  <c:v>571</c:v>
                </c:pt>
                <c:pt idx="132">
                  <c:v>596</c:v>
                </c:pt>
                <c:pt idx="133">
                  <c:v>638</c:v>
                </c:pt>
                <c:pt idx="134">
                  <c:v>666</c:v>
                </c:pt>
                <c:pt idx="135">
                  <c:v>670</c:v>
                </c:pt>
                <c:pt idx="136">
                  <c:v>666</c:v>
                </c:pt>
                <c:pt idx="137">
                  <c:v>704</c:v>
                </c:pt>
                <c:pt idx="138">
                  <c:v>692</c:v>
                </c:pt>
                <c:pt idx="139">
                  <c:v>708</c:v>
                </c:pt>
                <c:pt idx="140">
                  <c:v>700</c:v>
                </c:pt>
                <c:pt idx="141">
                  <c:v>705</c:v>
                </c:pt>
                <c:pt idx="142">
                  <c:v>720</c:v>
                </c:pt>
                <c:pt idx="143">
                  <c:v>710</c:v>
                </c:pt>
                <c:pt idx="144">
                  <c:v>703</c:v>
                </c:pt>
                <c:pt idx="145">
                  <c:v>718</c:v>
                </c:pt>
                <c:pt idx="146">
                  <c:v>689</c:v>
                </c:pt>
                <c:pt idx="147">
                  <c:v>662</c:v>
                </c:pt>
                <c:pt idx="148">
                  <c:v>656</c:v>
                </c:pt>
                <c:pt idx="149">
                  <c:v>638</c:v>
                </c:pt>
                <c:pt idx="150">
                  <c:v>597</c:v>
                </c:pt>
                <c:pt idx="151">
                  <c:v>577</c:v>
                </c:pt>
                <c:pt idx="152">
                  <c:v>565</c:v>
                </c:pt>
                <c:pt idx="153">
                  <c:v>537</c:v>
                </c:pt>
                <c:pt idx="154">
                  <c:v>516</c:v>
                </c:pt>
                <c:pt idx="155">
                  <c:v>505</c:v>
                </c:pt>
                <c:pt idx="156">
                  <c:v>484</c:v>
                </c:pt>
                <c:pt idx="157">
                  <c:v>453</c:v>
                </c:pt>
                <c:pt idx="158">
                  <c:v>431</c:v>
                </c:pt>
                <c:pt idx="159">
                  <c:v>408</c:v>
                </c:pt>
                <c:pt idx="160">
                  <c:v>380</c:v>
                </c:pt>
                <c:pt idx="161">
                  <c:v>357</c:v>
                </c:pt>
                <c:pt idx="162">
                  <c:v>354</c:v>
                </c:pt>
                <c:pt idx="163">
                  <c:v>352</c:v>
                </c:pt>
                <c:pt idx="164">
                  <c:v>325</c:v>
                </c:pt>
                <c:pt idx="165">
                  <c:v>324</c:v>
                </c:pt>
                <c:pt idx="166">
                  <c:v>309</c:v>
                </c:pt>
                <c:pt idx="167">
                  <c:v>299</c:v>
                </c:pt>
                <c:pt idx="168">
                  <c:v>270</c:v>
                </c:pt>
                <c:pt idx="169">
                  <c:v>267</c:v>
                </c:pt>
                <c:pt idx="170">
                  <c:v>263</c:v>
                </c:pt>
                <c:pt idx="171">
                  <c:v>253</c:v>
                </c:pt>
                <c:pt idx="172">
                  <c:v>259</c:v>
                </c:pt>
                <c:pt idx="173">
                  <c:v>263</c:v>
                </c:pt>
                <c:pt idx="174">
                  <c:v>264</c:v>
                </c:pt>
                <c:pt idx="175">
                  <c:v>261</c:v>
                </c:pt>
                <c:pt idx="176">
                  <c:v>252</c:v>
                </c:pt>
                <c:pt idx="177">
                  <c:v>260</c:v>
                </c:pt>
                <c:pt idx="178">
                  <c:v>258</c:v>
                </c:pt>
                <c:pt idx="182">
                  <c:v>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09.07.21</c:v>
                </c:pt>
                <c:pt idx="1">
                  <c:v>10.07.21</c:v>
                </c:pt>
                <c:pt idx="2">
                  <c:v>11.07.21</c:v>
                </c:pt>
                <c:pt idx="3">
                  <c:v>12.07.21</c:v>
                </c:pt>
                <c:pt idx="4">
                  <c:v>13.07.21</c:v>
                </c:pt>
                <c:pt idx="5">
                  <c:v>14.07.21</c:v>
                </c:pt>
                <c:pt idx="6">
                  <c:v>15.07.21</c:v>
                </c:pt>
                <c:pt idx="7">
                  <c:v>16.07.21</c:v>
                </c:pt>
                <c:pt idx="8">
                  <c:v>17.07.21</c:v>
                </c:pt>
                <c:pt idx="9">
                  <c:v>18.07.21</c:v>
                </c:pt>
                <c:pt idx="10">
                  <c:v>19.07.21</c:v>
                </c:pt>
                <c:pt idx="11">
                  <c:v>20.07.21</c:v>
                </c:pt>
                <c:pt idx="12">
                  <c:v>21.07.21</c:v>
                </c:pt>
                <c:pt idx="13">
                  <c:v>22.07.21</c:v>
                </c:pt>
                <c:pt idx="14">
                  <c:v>23.07.21</c:v>
                </c:pt>
                <c:pt idx="15">
                  <c:v>24.07.21</c:v>
                </c:pt>
                <c:pt idx="16">
                  <c:v>25.07.21</c:v>
                </c:pt>
                <c:pt idx="17">
                  <c:v>26.07.21</c:v>
                </c:pt>
                <c:pt idx="18">
                  <c:v>27.07.21</c:v>
                </c:pt>
                <c:pt idx="19">
                  <c:v>28.07.21</c:v>
                </c:pt>
                <c:pt idx="20">
                  <c:v>29.07.21</c:v>
                </c:pt>
                <c:pt idx="21">
                  <c:v>30.07.21</c:v>
                </c:pt>
                <c:pt idx="22">
                  <c:v>31.07.21</c:v>
                </c:pt>
                <c:pt idx="23">
                  <c:v>01.08.21</c:v>
                </c:pt>
                <c:pt idx="24">
                  <c:v>02.08.21</c:v>
                </c:pt>
                <c:pt idx="25">
                  <c:v>03.08.21</c:v>
                </c:pt>
                <c:pt idx="26">
                  <c:v>04.08.21</c:v>
                </c:pt>
                <c:pt idx="27">
                  <c:v>05.08.21</c:v>
                </c:pt>
                <c:pt idx="28">
                  <c:v>06.08.21</c:v>
                </c:pt>
                <c:pt idx="29">
                  <c:v>07.08.21</c:v>
                </c:pt>
                <c:pt idx="30">
                  <c:v>08.08.21</c:v>
                </c:pt>
                <c:pt idx="31">
                  <c:v>09.08.21</c:v>
                </c:pt>
                <c:pt idx="32">
                  <c:v>10.08.21</c:v>
                </c:pt>
                <c:pt idx="33">
                  <c:v>11.08.21</c:v>
                </c:pt>
                <c:pt idx="34">
                  <c:v>12.08.21</c:v>
                </c:pt>
                <c:pt idx="35">
                  <c:v>13.08.21</c:v>
                </c:pt>
                <c:pt idx="36">
                  <c:v>14.08.21</c:v>
                </c:pt>
                <c:pt idx="37">
                  <c:v>15.08.21</c:v>
                </c:pt>
                <c:pt idx="38">
                  <c:v>16.08.21</c:v>
                </c:pt>
                <c:pt idx="39">
                  <c:v>17.08.21</c:v>
                </c:pt>
                <c:pt idx="40">
                  <c:v>18.08.21</c:v>
                </c:pt>
                <c:pt idx="41">
                  <c:v>19.08.21</c:v>
                </c:pt>
                <c:pt idx="42">
                  <c:v>20.08.21</c:v>
                </c:pt>
                <c:pt idx="43">
                  <c:v>21.08.21</c:v>
                </c:pt>
                <c:pt idx="44">
                  <c:v>22.08.21</c:v>
                </c:pt>
                <c:pt idx="45">
                  <c:v>23.08.21</c:v>
                </c:pt>
                <c:pt idx="46">
                  <c:v>24.08.21</c:v>
                </c:pt>
                <c:pt idx="47">
                  <c:v>25.08.21</c:v>
                </c:pt>
                <c:pt idx="48">
                  <c:v>26.08.21</c:v>
                </c:pt>
                <c:pt idx="49">
                  <c:v>27.08.21</c:v>
                </c:pt>
                <c:pt idx="50">
                  <c:v>28.08.21</c:v>
                </c:pt>
                <c:pt idx="51">
                  <c:v>29.08.21</c:v>
                </c:pt>
                <c:pt idx="52">
                  <c:v>30.08.21</c:v>
                </c:pt>
                <c:pt idx="53">
                  <c:v>31.08.21</c:v>
                </c:pt>
                <c:pt idx="54">
                  <c:v>01.09.21</c:v>
                </c:pt>
                <c:pt idx="55">
                  <c:v>02.09.21</c:v>
                </c:pt>
                <c:pt idx="56">
                  <c:v>03.09.21</c:v>
                </c:pt>
                <c:pt idx="57">
                  <c:v>04.09.21</c:v>
                </c:pt>
                <c:pt idx="58">
                  <c:v>05.09.21</c:v>
                </c:pt>
                <c:pt idx="59">
                  <c:v>06.09.21</c:v>
                </c:pt>
                <c:pt idx="60">
                  <c:v>07.09.21</c:v>
                </c:pt>
                <c:pt idx="61">
                  <c:v>08.09.21</c:v>
                </c:pt>
                <c:pt idx="62">
                  <c:v>09.09.21</c:v>
                </c:pt>
                <c:pt idx="63">
                  <c:v>10.09.21</c:v>
                </c:pt>
                <c:pt idx="64">
                  <c:v>11.09.21</c:v>
                </c:pt>
                <c:pt idx="65">
                  <c:v>12.09.21</c:v>
                </c:pt>
                <c:pt idx="66">
                  <c:v>13.09.21</c:v>
                </c:pt>
                <c:pt idx="67">
                  <c:v>14.09.21</c:v>
                </c:pt>
                <c:pt idx="68">
                  <c:v>15.09.21</c:v>
                </c:pt>
                <c:pt idx="69">
                  <c:v>16.09.21</c:v>
                </c:pt>
                <c:pt idx="70">
                  <c:v>17.09.21</c:v>
                </c:pt>
                <c:pt idx="71">
                  <c:v>18.09.21</c:v>
                </c:pt>
                <c:pt idx="72">
                  <c:v>19.09.21</c:v>
                </c:pt>
                <c:pt idx="73">
                  <c:v>20.09.21</c:v>
                </c:pt>
                <c:pt idx="74">
                  <c:v>21.09.21</c:v>
                </c:pt>
                <c:pt idx="75">
                  <c:v>22.09.21</c:v>
                </c:pt>
                <c:pt idx="76">
                  <c:v>23.09.21</c:v>
                </c:pt>
                <c:pt idx="77">
                  <c:v>24.09.21</c:v>
                </c:pt>
                <c:pt idx="78">
                  <c:v>25.09.21</c:v>
                </c:pt>
                <c:pt idx="79">
                  <c:v>26.09.21</c:v>
                </c:pt>
                <c:pt idx="80">
                  <c:v>27.09.21</c:v>
                </c:pt>
                <c:pt idx="81">
                  <c:v>28.09.21</c:v>
                </c:pt>
                <c:pt idx="82">
                  <c:v>29.09.21</c:v>
                </c:pt>
                <c:pt idx="83">
                  <c:v>30.09.21</c:v>
                </c:pt>
                <c:pt idx="84">
                  <c:v>01.10.21</c:v>
                </c:pt>
                <c:pt idx="85">
                  <c:v>02.10.21</c:v>
                </c:pt>
                <c:pt idx="86">
                  <c:v>03.10.21</c:v>
                </c:pt>
                <c:pt idx="87">
                  <c:v>04.10.21</c:v>
                </c:pt>
                <c:pt idx="88">
                  <c:v>05.10.21</c:v>
                </c:pt>
                <c:pt idx="89">
                  <c:v>06.10.21</c:v>
                </c:pt>
                <c:pt idx="90">
                  <c:v>07.10.21</c:v>
                </c:pt>
                <c:pt idx="91">
                  <c:v>08.10.21</c:v>
                </c:pt>
                <c:pt idx="92">
                  <c:v>09.10.21</c:v>
                </c:pt>
                <c:pt idx="93">
                  <c:v>10.10.21</c:v>
                </c:pt>
                <c:pt idx="94">
                  <c:v>11.10.21</c:v>
                </c:pt>
                <c:pt idx="95">
                  <c:v>12.10.21</c:v>
                </c:pt>
                <c:pt idx="96">
                  <c:v>13.10.21</c:v>
                </c:pt>
                <c:pt idx="97">
                  <c:v>14.10.21</c:v>
                </c:pt>
                <c:pt idx="98">
                  <c:v>15.10.21</c:v>
                </c:pt>
                <c:pt idx="99">
                  <c:v>16.10.21</c:v>
                </c:pt>
                <c:pt idx="100">
                  <c:v>17.10.21</c:v>
                </c:pt>
                <c:pt idx="101">
                  <c:v>18.10.21</c:v>
                </c:pt>
                <c:pt idx="102">
                  <c:v>19.10.21</c:v>
                </c:pt>
                <c:pt idx="103">
                  <c:v>20.10.21</c:v>
                </c:pt>
                <c:pt idx="104">
                  <c:v>21.10.21</c:v>
                </c:pt>
                <c:pt idx="105">
                  <c:v>22.10.21</c:v>
                </c:pt>
                <c:pt idx="106">
                  <c:v>23.10.21</c:v>
                </c:pt>
                <c:pt idx="107">
                  <c:v>24.10.21</c:v>
                </c:pt>
                <c:pt idx="108">
                  <c:v>25.10.21</c:v>
                </c:pt>
                <c:pt idx="109">
                  <c:v>26.10.21</c:v>
                </c:pt>
                <c:pt idx="110">
                  <c:v>27.10.21</c:v>
                </c:pt>
                <c:pt idx="111">
                  <c:v>28.10.21</c:v>
                </c:pt>
                <c:pt idx="112">
                  <c:v>29.10.21</c:v>
                </c:pt>
                <c:pt idx="113">
                  <c:v>30.10.21</c:v>
                </c:pt>
                <c:pt idx="114">
                  <c:v>31.10.21</c:v>
                </c:pt>
                <c:pt idx="115">
                  <c:v>01.11.21</c:v>
                </c:pt>
                <c:pt idx="116">
                  <c:v>02.11.21</c:v>
                </c:pt>
                <c:pt idx="117">
                  <c:v>03.11.21</c:v>
                </c:pt>
                <c:pt idx="118">
                  <c:v>04.11.21</c:v>
                </c:pt>
                <c:pt idx="119">
                  <c:v>05.11.21</c:v>
                </c:pt>
                <c:pt idx="120">
                  <c:v>06.11.21</c:v>
                </c:pt>
                <c:pt idx="121">
                  <c:v>07.11.21</c:v>
                </c:pt>
                <c:pt idx="122">
                  <c:v>08.11.21</c:v>
                </c:pt>
                <c:pt idx="123">
                  <c:v>09.11.21</c:v>
                </c:pt>
                <c:pt idx="124">
                  <c:v>10.11.21</c:v>
                </c:pt>
                <c:pt idx="125">
                  <c:v>11.11.21</c:v>
                </c:pt>
                <c:pt idx="126">
                  <c:v>12.11.21</c:v>
                </c:pt>
                <c:pt idx="127">
                  <c:v>13.11.21</c:v>
                </c:pt>
                <c:pt idx="128">
                  <c:v>14.11.21</c:v>
                </c:pt>
                <c:pt idx="129">
                  <c:v>15.11.21</c:v>
                </c:pt>
                <c:pt idx="130">
                  <c:v>16.11.21</c:v>
                </c:pt>
                <c:pt idx="131">
                  <c:v>17.11.21</c:v>
                </c:pt>
                <c:pt idx="132">
                  <c:v>18.11.21</c:v>
                </c:pt>
                <c:pt idx="133">
                  <c:v>19.11.21</c:v>
                </c:pt>
                <c:pt idx="134">
                  <c:v>20.11.21</c:v>
                </c:pt>
                <c:pt idx="135">
                  <c:v>21.11.21</c:v>
                </c:pt>
                <c:pt idx="136">
                  <c:v>22.11.21</c:v>
                </c:pt>
                <c:pt idx="137">
                  <c:v>23.11.21</c:v>
                </c:pt>
                <c:pt idx="138">
                  <c:v>24.11.21</c:v>
                </c:pt>
                <c:pt idx="139">
                  <c:v>25.11.21</c:v>
                </c:pt>
                <c:pt idx="140">
                  <c:v>26.11.21</c:v>
                </c:pt>
                <c:pt idx="141">
                  <c:v>27.11.21</c:v>
                </c:pt>
                <c:pt idx="142">
                  <c:v>28.11.21</c:v>
                </c:pt>
                <c:pt idx="143">
                  <c:v>29.11.21</c:v>
                </c:pt>
                <c:pt idx="144">
                  <c:v>30.11.21</c:v>
                </c:pt>
                <c:pt idx="145">
                  <c:v>01.12.21</c:v>
                </c:pt>
                <c:pt idx="146">
                  <c:v>02.12.21</c:v>
                </c:pt>
                <c:pt idx="147">
                  <c:v>03.12.21</c:v>
                </c:pt>
                <c:pt idx="148">
                  <c:v>04.12.21</c:v>
                </c:pt>
                <c:pt idx="149">
                  <c:v>05.12.21</c:v>
                </c:pt>
                <c:pt idx="150">
                  <c:v>06.12.21</c:v>
                </c:pt>
                <c:pt idx="151">
                  <c:v>07.12.21</c:v>
                </c:pt>
                <c:pt idx="152">
                  <c:v>08.12.21</c:v>
                </c:pt>
                <c:pt idx="153">
                  <c:v>09.12.21</c:v>
                </c:pt>
                <c:pt idx="154">
                  <c:v>10.12.21</c:v>
                </c:pt>
                <c:pt idx="155">
                  <c:v>11.12.21</c:v>
                </c:pt>
                <c:pt idx="156">
                  <c:v>12.12.21</c:v>
                </c:pt>
                <c:pt idx="157">
                  <c:v>13.12.21</c:v>
                </c:pt>
                <c:pt idx="158">
                  <c:v>14.12.21</c:v>
                </c:pt>
                <c:pt idx="159">
                  <c:v>15.12.21</c:v>
                </c:pt>
                <c:pt idx="160">
                  <c:v>16.12.21</c:v>
                </c:pt>
                <c:pt idx="161">
                  <c:v>17.12.21</c:v>
                </c:pt>
                <c:pt idx="162">
                  <c:v>18.12.21</c:v>
                </c:pt>
                <c:pt idx="163">
                  <c:v>19.12.21</c:v>
                </c:pt>
                <c:pt idx="164">
                  <c:v>20.12.21</c:v>
                </c:pt>
                <c:pt idx="165">
                  <c:v>21.12.21</c:v>
                </c:pt>
                <c:pt idx="166">
                  <c:v>22.12.21</c:v>
                </c:pt>
                <c:pt idx="167">
                  <c:v>23.12.21</c:v>
                </c:pt>
                <c:pt idx="168">
                  <c:v>24.12.21</c:v>
                </c:pt>
                <c:pt idx="169">
                  <c:v>25.12.21</c:v>
                </c:pt>
                <c:pt idx="170">
                  <c:v>26.12.21</c:v>
                </c:pt>
                <c:pt idx="171">
                  <c:v>27.12.21</c:v>
                </c:pt>
                <c:pt idx="172">
                  <c:v>28.12.21</c:v>
                </c:pt>
                <c:pt idx="173">
                  <c:v>29.12.21</c:v>
                </c:pt>
                <c:pt idx="174">
                  <c:v>30.12.21</c:v>
                </c:pt>
                <c:pt idx="175">
                  <c:v>31.12.21</c:v>
                </c:pt>
                <c:pt idx="176">
                  <c:v>01.01.22</c:v>
                </c:pt>
                <c:pt idx="177">
                  <c:v>02.01.22</c:v>
                </c:pt>
                <c:pt idx="178">
                  <c:v>03.01.22</c:v>
                </c:pt>
                <c:pt idx="179">
                  <c:v>04.01.22</c:v>
                </c:pt>
                <c:pt idx="180">
                  <c:v>05.01.22</c:v>
                </c:pt>
                <c:pt idx="181">
                  <c:v>06.01.22</c:v>
                </c:pt>
                <c:pt idx="182">
                  <c:v>07.01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35</c:v>
                </c:pt>
                <c:pt idx="1">
                  <c:v>35</c:v>
                </c:pt>
                <c:pt idx="2">
                  <c:v>34</c:v>
                </c:pt>
                <c:pt idx="3">
                  <c:v>34</c:v>
                </c:pt>
                <c:pt idx="4">
                  <c:v>36</c:v>
                </c:pt>
                <c:pt idx="5">
                  <c:v>38</c:v>
                </c:pt>
                <c:pt idx="6">
                  <c:v>39</c:v>
                </c:pt>
                <c:pt idx="7">
                  <c:v>37</c:v>
                </c:pt>
                <c:pt idx="8">
                  <c:v>36</c:v>
                </c:pt>
                <c:pt idx="9">
                  <c:v>36</c:v>
                </c:pt>
                <c:pt idx="10">
                  <c:v>38</c:v>
                </c:pt>
                <c:pt idx="11">
                  <c:v>38</c:v>
                </c:pt>
                <c:pt idx="12">
                  <c:v>41</c:v>
                </c:pt>
                <c:pt idx="13">
                  <c:v>41</c:v>
                </c:pt>
                <c:pt idx="14">
                  <c:v>44</c:v>
                </c:pt>
                <c:pt idx="15">
                  <c:v>45</c:v>
                </c:pt>
                <c:pt idx="16">
                  <c:v>46</c:v>
                </c:pt>
                <c:pt idx="17">
                  <c:v>45</c:v>
                </c:pt>
                <c:pt idx="18">
                  <c:v>43</c:v>
                </c:pt>
                <c:pt idx="19">
                  <c:v>42</c:v>
                </c:pt>
                <c:pt idx="20">
                  <c:v>41</c:v>
                </c:pt>
                <c:pt idx="21">
                  <c:v>42</c:v>
                </c:pt>
                <c:pt idx="22">
                  <c:v>42</c:v>
                </c:pt>
                <c:pt idx="23">
                  <c:v>42</c:v>
                </c:pt>
                <c:pt idx="24">
                  <c:v>38</c:v>
                </c:pt>
                <c:pt idx="25">
                  <c:v>40</c:v>
                </c:pt>
                <c:pt idx="26">
                  <c:v>38</c:v>
                </c:pt>
                <c:pt idx="27">
                  <c:v>37</c:v>
                </c:pt>
                <c:pt idx="28">
                  <c:v>34</c:v>
                </c:pt>
                <c:pt idx="29">
                  <c:v>33</c:v>
                </c:pt>
                <c:pt idx="30">
                  <c:v>30</c:v>
                </c:pt>
                <c:pt idx="31">
                  <c:v>32</c:v>
                </c:pt>
                <c:pt idx="32">
                  <c:v>34</c:v>
                </c:pt>
                <c:pt idx="33">
                  <c:v>36</c:v>
                </c:pt>
                <c:pt idx="34">
                  <c:v>36</c:v>
                </c:pt>
                <c:pt idx="35">
                  <c:v>38</c:v>
                </c:pt>
                <c:pt idx="36">
                  <c:v>39</c:v>
                </c:pt>
                <c:pt idx="37">
                  <c:v>40</c:v>
                </c:pt>
                <c:pt idx="38">
                  <c:v>42</c:v>
                </c:pt>
                <c:pt idx="39">
                  <c:v>44</c:v>
                </c:pt>
                <c:pt idx="40">
                  <c:v>45</c:v>
                </c:pt>
                <c:pt idx="41">
                  <c:v>45</c:v>
                </c:pt>
                <c:pt idx="42">
                  <c:v>45</c:v>
                </c:pt>
                <c:pt idx="43">
                  <c:v>45</c:v>
                </c:pt>
                <c:pt idx="44">
                  <c:v>45</c:v>
                </c:pt>
                <c:pt idx="45">
                  <c:v>47</c:v>
                </c:pt>
                <c:pt idx="46">
                  <c:v>48</c:v>
                </c:pt>
                <c:pt idx="47">
                  <c:v>45</c:v>
                </c:pt>
                <c:pt idx="48">
                  <c:v>46</c:v>
                </c:pt>
                <c:pt idx="49">
                  <c:v>45</c:v>
                </c:pt>
                <c:pt idx="50">
                  <c:v>45</c:v>
                </c:pt>
                <c:pt idx="51">
                  <c:v>44</c:v>
                </c:pt>
                <c:pt idx="52">
                  <c:v>39</c:v>
                </c:pt>
                <c:pt idx="53">
                  <c:v>40</c:v>
                </c:pt>
                <c:pt idx="54">
                  <c:v>38</c:v>
                </c:pt>
                <c:pt idx="55">
                  <c:v>43</c:v>
                </c:pt>
                <c:pt idx="56">
                  <c:v>49</c:v>
                </c:pt>
                <c:pt idx="57">
                  <c:v>50</c:v>
                </c:pt>
                <c:pt idx="58">
                  <c:v>48</c:v>
                </c:pt>
                <c:pt idx="59">
                  <c:v>46</c:v>
                </c:pt>
                <c:pt idx="60">
                  <c:v>52</c:v>
                </c:pt>
                <c:pt idx="61">
                  <c:v>52</c:v>
                </c:pt>
                <c:pt idx="62">
                  <c:v>54</c:v>
                </c:pt>
                <c:pt idx="63">
                  <c:v>54</c:v>
                </c:pt>
                <c:pt idx="64">
                  <c:v>53</c:v>
                </c:pt>
                <c:pt idx="65">
                  <c:v>54</c:v>
                </c:pt>
                <c:pt idx="66">
                  <c:v>55</c:v>
                </c:pt>
                <c:pt idx="67">
                  <c:v>58</c:v>
                </c:pt>
                <c:pt idx="68">
                  <c:v>60</c:v>
                </c:pt>
                <c:pt idx="69">
                  <c:v>62</c:v>
                </c:pt>
                <c:pt idx="70">
                  <c:v>61</c:v>
                </c:pt>
                <c:pt idx="71">
                  <c:v>63</c:v>
                </c:pt>
                <c:pt idx="72">
                  <c:v>64</c:v>
                </c:pt>
                <c:pt idx="73">
                  <c:v>70</c:v>
                </c:pt>
                <c:pt idx="74">
                  <c:v>72</c:v>
                </c:pt>
                <c:pt idx="75">
                  <c:v>77</c:v>
                </c:pt>
                <c:pt idx="76">
                  <c:v>80</c:v>
                </c:pt>
                <c:pt idx="77">
                  <c:v>87</c:v>
                </c:pt>
                <c:pt idx="78">
                  <c:v>93</c:v>
                </c:pt>
                <c:pt idx="79">
                  <c:v>95</c:v>
                </c:pt>
                <c:pt idx="80">
                  <c:v>96</c:v>
                </c:pt>
                <c:pt idx="81">
                  <c:v>101</c:v>
                </c:pt>
                <c:pt idx="82">
                  <c:v>107</c:v>
                </c:pt>
                <c:pt idx="83">
                  <c:v>115</c:v>
                </c:pt>
                <c:pt idx="84">
                  <c:v>117</c:v>
                </c:pt>
                <c:pt idx="85">
                  <c:v>118</c:v>
                </c:pt>
                <c:pt idx="86">
                  <c:v>124</c:v>
                </c:pt>
                <c:pt idx="87">
                  <c:v>123</c:v>
                </c:pt>
                <c:pt idx="88">
                  <c:v>131</c:v>
                </c:pt>
                <c:pt idx="89">
                  <c:v>135</c:v>
                </c:pt>
                <c:pt idx="90">
                  <c:v>137</c:v>
                </c:pt>
                <c:pt idx="91">
                  <c:v>138</c:v>
                </c:pt>
                <c:pt idx="92">
                  <c:v>138</c:v>
                </c:pt>
                <c:pt idx="93">
                  <c:v>136</c:v>
                </c:pt>
                <c:pt idx="94">
                  <c:v>147</c:v>
                </c:pt>
                <c:pt idx="95">
                  <c:v>159</c:v>
                </c:pt>
                <c:pt idx="96">
                  <c:v>160</c:v>
                </c:pt>
                <c:pt idx="97">
                  <c:v>170</c:v>
                </c:pt>
                <c:pt idx="98">
                  <c:v>180</c:v>
                </c:pt>
                <c:pt idx="99">
                  <c:v>185</c:v>
                </c:pt>
                <c:pt idx="100">
                  <c:v>188</c:v>
                </c:pt>
                <c:pt idx="101">
                  <c:v>210</c:v>
                </c:pt>
                <c:pt idx="102">
                  <c:v>221</c:v>
                </c:pt>
                <c:pt idx="103">
                  <c:v>237</c:v>
                </c:pt>
                <c:pt idx="104">
                  <c:v>276</c:v>
                </c:pt>
                <c:pt idx="105">
                  <c:v>303</c:v>
                </c:pt>
                <c:pt idx="106">
                  <c:v>332</c:v>
                </c:pt>
                <c:pt idx="107">
                  <c:v>335</c:v>
                </c:pt>
                <c:pt idx="108">
                  <c:v>378</c:v>
                </c:pt>
                <c:pt idx="109">
                  <c:v>424</c:v>
                </c:pt>
                <c:pt idx="110">
                  <c:v>475</c:v>
                </c:pt>
                <c:pt idx="111">
                  <c:v>490</c:v>
                </c:pt>
                <c:pt idx="112">
                  <c:v>549</c:v>
                </c:pt>
                <c:pt idx="113">
                  <c:v>596</c:v>
                </c:pt>
                <c:pt idx="114">
                  <c:v>623</c:v>
                </c:pt>
                <c:pt idx="115">
                  <c:v>685</c:v>
                </c:pt>
                <c:pt idx="116">
                  <c:v>766</c:v>
                </c:pt>
                <c:pt idx="117">
                  <c:v>839</c:v>
                </c:pt>
                <c:pt idx="118">
                  <c:v>882</c:v>
                </c:pt>
                <c:pt idx="119">
                  <c:v>956</c:v>
                </c:pt>
                <c:pt idx="120">
                  <c:v>1012</c:v>
                </c:pt>
                <c:pt idx="121">
                  <c:v>1014</c:v>
                </c:pt>
                <c:pt idx="122">
                  <c:v>1054</c:v>
                </c:pt>
                <c:pt idx="123">
                  <c:v>1133</c:v>
                </c:pt>
                <c:pt idx="124">
                  <c:v>1233</c:v>
                </c:pt>
                <c:pt idx="125">
                  <c:v>1288</c:v>
                </c:pt>
                <c:pt idx="126">
                  <c:v>1355</c:v>
                </c:pt>
                <c:pt idx="127">
                  <c:v>1392</c:v>
                </c:pt>
                <c:pt idx="128">
                  <c:v>1401</c:v>
                </c:pt>
                <c:pt idx="129">
                  <c:v>1434</c:v>
                </c:pt>
                <c:pt idx="130">
                  <c:v>1546</c:v>
                </c:pt>
                <c:pt idx="131">
                  <c:v>1548</c:v>
                </c:pt>
                <c:pt idx="132">
                  <c:v>1602</c:v>
                </c:pt>
                <c:pt idx="133">
                  <c:v>1703</c:v>
                </c:pt>
                <c:pt idx="134">
                  <c:v>1799</c:v>
                </c:pt>
                <c:pt idx="135">
                  <c:v>1844</c:v>
                </c:pt>
                <c:pt idx="136">
                  <c:v>1858</c:v>
                </c:pt>
                <c:pt idx="137">
                  <c:v>1966</c:v>
                </c:pt>
                <c:pt idx="138">
                  <c:v>1953</c:v>
                </c:pt>
                <c:pt idx="139">
                  <c:v>2037</c:v>
                </c:pt>
                <c:pt idx="140">
                  <c:v>2073</c:v>
                </c:pt>
                <c:pt idx="141">
                  <c:v>2111</c:v>
                </c:pt>
                <c:pt idx="142">
                  <c:v>2135</c:v>
                </c:pt>
                <c:pt idx="143">
                  <c:v>2089</c:v>
                </c:pt>
                <c:pt idx="144">
                  <c:v>2062</c:v>
                </c:pt>
                <c:pt idx="145">
                  <c:v>2144</c:v>
                </c:pt>
                <c:pt idx="146">
                  <c:v>2066</c:v>
                </c:pt>
                <c:pt idx="147">
                  <c:v>1965</c:v>
                </c:pt>
                <c:pt idx="148">
                  <c:v>1970</c:v>
                </c:pt>
                <c:pt idx="149">
                  <c:v>1952</c:v>
                </c:pt>
                <c:pt idx="150">
                  <c:v>1813</c:v>
                </c:pt>
                <c:pt idx="151">
                  <c:v>1760</c:v>
                </c:pt>
                <c:pt idx="152">
                  <c:v>1705</c:v>
                </c:pt>
                <c:pt idx="153">
                  <c:v>1675</c:v>
                </c:pt>
                <c:pt idx="154">
                  <c:v>1609</c:v>
                </c:pt>
                <c:pt idx="155">
                  <c:v>1609</c:v>
                </c:pt>
                <c:pt idx="156">
                  <c:v>1596</c:v>
                </c:pt>
                <c:pt idx="157">
                  <c:v>1455</c:v>
                </c:pt>
                <c:pt idx="158">
                  <c:v>1429</c:v>
                </c:pt>
                <c:pt idx="159">
                  <c:v>1369</c:v>
                </c:pt>
                <c:pt idx="160">
                  <c:v>1305</c:v>
                </c:pt>
                <c:pt idx="161">
                  <c:v>1246</c:v>
                </c:pt>
                <c:pt idx="162">
                  <c:v>1231</c:v>
                </c:pt>
                <c:pt idx="163">
                  <c:v>1200</c:v>
                </c:pt>
                <c:pt idx="164">
                  <c:v>1093</c:v>
                </c:pt>
                <c:pt idx="165">
                  <c:v>1041</c:v>
                </c:pt>
                <c:pt idx="166">
                  <c:v>988</c:v>
                </c:pt>
                <c:pt idx="167">
                  <c:v>946</c:v>
                </c:pt>
                <c:pt idx="168">
                  <c:v>852</c:v>
                </c:pt>
                <c:pt idx="169">
                  <c:v>817</c:v>
                </c:pt>
                <c:pt idx="170">
                  <c:v>777</c:v>
                </c:pt>
                <c:pt idx="171">
                  <c:v>716</c:v>
                </c:pt>
                <c:pt idx="172">
                  <c:v>717</c:v>
                </c:pt>
                <c:pt idx="173">
                  <c:v>701</c:v>
                </c:pt>
                <c:pt idx="174">
                  <c:v>677</c:v>
                </c:pt>
                <c:pt idx="175">
                  <c:v>652</c:v>
                </c:pt>
                <c:pt idx="176">
                  <c:v>631</c:v>
                </c:pt>
                <c:pt idx="177">
                  <c:v>628</c:v>
                </c:pt>
                <c:pt idx="178">
                  <c:v>606</c:v>
                </c:pt>
                <c:pt idx="182">
                  <c:v>8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4.662547463082748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9.07.21</c:v>
                </c:pt>
                <c:pt idx="1">
                  <c:v>10.07.21</c:v>
                </c:pt>
                <c:pt idx="2">
                  <c:v>11.07.21</c:v>
                </c:pt>
                <c:pt idx="3">
                  <c:v>12.07.21</c:v>
                </c:pt>
                <c:pt idx="4">
                  <c:v>13.07.21</c:v>
                </c:pt>
                <c:pt idx="5">
                  <c:v>14.07.21</c:v>
                </c:pt>
                <c:pt idx="6">
                  <c:v>15.07.21</c:v>
                </c:pt>
                <c:pt idx="7">
                  <c:v>16.07.21</c:v>
                </c:pt>
                <c:pt idx="8">
                  <c:v>17.07.21</c:v>
                </c:pt>
                <c:pt idx="9">
                  <c:v>18.07.21</c:v>
                </c:pt>
                <c:pt idx="10">
                  <c:v>19.07.21</c:v>
                </c:pt>
                <c:pt idx="11">
                  <c:v>20.07.21</c:v>
                </c:pt>
                <c:pt idx="12">
                  <c:v>21.07.21</c:v>
                </c:pt>
                <c:pt idx="13">
                  <c:v>22.07.21</c:v>
                </c:pt>
                <c:pt idx="14">
                  <c:v>23.07.21</c:v>
                </c:pt>
                <c:pt idx="15">
                  <c:v>24.07.21</c:v>
                </c:pt>
                <c:pt idx="16">
                  <c:v>25.07.21</c:v>
                </c:pt>
                <c:pt idx="17">
                  <c:v>26.07.21</c:v>
                </c:pt>
                <c:pt idx="18">
                  <c:v>27.07.21</c:v>
                </c:pt>
                <c:pt idx="19">
                  <c:v>28.07.21</c:v>
                </c:pt>
                <c:pt idx="20">
                  <c:v>29.07.21</c:v>
                </c:pt>
                <c:pt idx="21">
                  <c:v>30.07.21</c:v>
                </c:pt>
                <c:pt idx="22">
                  <c:v>31.07.21</c:v>
                </c:pt>
                <c:pt idx="23">
                  <c:v>01.08.21</c:v>
                </c:pt>
                <c:pt idx="24">
                  <c:v>02.08.21</c:v>
                </c:pt>
                <c:pt idx="25">
                  <c:v>03.08.21</c:v>
                </c:pt>
                <c:pt idx="26">
                  <c:v>04.08.21</c:v>
                </c:pt>
                <c:pt idx="27">
                  <c:v>05.08.21</c:v>
                </c:pt>
                <c:pt idx="28">
                  <c:v>06.08.21</c:v>
                </c:pt>
                <c:pt idx="29">
                  <c:v>07.08.21</c:v>
                </c:pt>
                <c:pt idx="30">
                  <c:v>08.08.21</c:v>
                </c:pt>
                <c:pt idx="31">
                  <c:v>09.08.21</c:v>
                </c:pt>
                <c:pt idx="32">
                  <c:v>10.08.21</c:v>
                </c:pt>
                <c:pt idx="33">
                  <c:v>11.08.21</c:v>
                </c:pt>
                <c:pt idx="34">
                  <c:v>12.08.21</c:v>
                </c:pt>
                <c:pt idx="35">
                  <c:v>13.08.21</c:v>
                </c:pt>
                <c:pt idx="36">
                  <c:v>14.08.21</c:v>
                </c:pt>
                <c:pt idx="37">
                  <c:v>15.08.21</c:v>
                </c:pt>
                <c:pt idx="38">
                  <c:v>16.08.21</c:v>
                </c:pt>
                <c:pt idx="39">
                  <c:v>17.08.21</c:v>
                </c:pt>
                <c:pt idx="40">
                  <c:v>18.08.21</c:v>
                </c:pt>
                <c:pt idx="41">
                  <c:v>19.08.21</c:v>
                </c:pt>
                <c:pt idx="42">
                  <c:v>20.08.21</c:v>
                </c:pt>
                <c:pt idx="43">
                  <c:v>21.08.21</c:v>
                </c:pt>
                <c:pt idx="44">
                  <c:v>22.08.21</c:v>
                </c:pt>
                <c:pt idx="45">
                  <c:v>23.08.21</c:v>
                </c:pt>
                <c:pt idx="46">
                  <c:v>24.08.21</c:v>
                </c:pt>
                <c:pt idx="47">
                  <c:v>25.08.21</c:v>
                </c:pt>
                <c:pt idx="48">
                  <c:v>26.08.21</c:v>
                </c:pt>
                <c:pt idx="49">
                  <c:v>27.08.21</c:v>
                </c:pt>
                <c:pt idx="50">
                  <c:v>28.08.21</c:v>
                </c:pt>
                <c:pt idx="51">
                  <c:v>29.08.21</c:v>
                </c:pt>
                <c:pt idx="52">
                  <c:v>30.08.21</c:v>
                </c:pt>
                <c:pt idx="53">
                  <c:v>31.08.21</c:v>
                </c:pt>
                <c:pt idx="54">
                  <c:v>01.09.21</c:v>
                </c:pt>
                <c:pt idx="55">
                  <c:v>02.09.21</c:v>
                </c:pt>
                <c:pt idx="56">
                  <c:v>03.09.21</c:v>
                </c:pt>
                <c:pt idx="57">
                  <c:v>04.09.21</c:v>
                </c:pt>
                <c:pt idx="58">
                  <c:v>05.09.21</c:v>
                </c:pt>
                <c:pt idx="59">
                  <c:v>06.09.21</c:v>
                </c:pt>
                <c:pt idx="60">
                  <c:v>07.09.21</c:v>
                </c:pt>
                <c:pt idx="61">
                  <c:v>08.09.21</c:v>
                </c:pt>
                <c:pt idx="62">
                  <c:v>09.09.21</c:v>
                </c:pt>
                <c:pt idx="63">
                  <c:v>10.09.21</c:v>
                </c:pt>
                <c:pt idx="64">
                  <c:v>11.09.21</c:v>
                </c:pt>
                <c:pt idx="65">
                  <c:v>12.09.21</c:v>
                </c:pt>
                <c:pt idx="66">
                  <c:v>13.09.21</c:v>
                </c:pt>
                <c:pt idx="67">
                  <c:v>14.09.21</c:v>
                </c:pt>
                <c:pt idx="68">
                  <c:v>15.09.21</c:v>
                </c:pt>
                <c:pt idx="69">
                  <c:v>16.09.21</c:v>
                </c:pt>
                <c:pt idx="70">
                  <c:v>17.09.21</c:v>
                </c:pt>
                <c:pt idx="71">
                  <c:v>18.09.21</c:v>
                </c:pt>
                <c:pt idx="72">
                  <c:v>19.09.21</c:v>
                </c:pt>
                <c:pt idx="73">
                  <c:v>20.09.21</c:v>
                </c:pt>
                <c:pt idx="74">
                  <c:v>21.09.21</c:v>
                </c:pt>
                <c:pt idx="75">
                  <c:v>22.09.21</c:v>
                </c:pt>
                <c:pt idx="76">
                  <c:v>23.09.21</c:v>
                </c:pt>
                <c:pt idx="77">
                  <c:v>24.09.21</c:v>
                </c:pt>
                <c:pt idx="78">
                  <c:v>25.09.21</c:v>
                </c:pt>
                <c:pt idx="79">
                  <c:v>26.09.21</c:v>
                </c:pt>
                <c:pt idx="80">
                  <c:v>27.09.21</c:v>
                </c:pt>
                <c:pt idx="81">
                  <c:v>28.09.21</c:v>
                </c:pt>
                <c:pt idx="82">
                  <c:v>29.09.21</c:v>
                </c:pt>
                <c:pt idx="83">
                  <c:v>30.09.21</c:v>
                </c:pt>
                <c:pt idx="84">
                  <c:v>01.10.21</c:v>
                </c:pt>
                <c:pt idx="85">
                  <c:v>02.10.21</c:v>
                </c:pt>
                <c:pt idx="86">
                  <c:v>03.10.21</c:v>
                </c:pt>
                <c:pt idx="87">
                  <c:v>04.10.21</c:v>
                </c:pt>
                <c:pt idx="88">
                  <c:v>05.10.21</c:v>
                </c:pt>
                <c:pt idx="89">
                  <c:v>06.10.21</c:v>
                </c:pt>
                <c:pt idx="90">
                  <c:v>07.10.21</c:v>
                </c:pt>
                <c:pt idx="91">
                  <c:v>08.10.21</c:v>
                </c:pt>
                <c:pt idx="92">
                  <c:v>09.10.21</c:v>
                </c:pt>
                <c:pt idx="93">
                  <c:v>10.10.21</c:v>
                </c:pt>
                <c:pt idx="94">
                  <c:v>11.10.21</c:v>
                </c:pt>
                <c:pt idx="95">
                  <c:v>12.10.21</c:v>
                </c:pt>
                <c:pt idx="96">
                  <c:v>13.10.21</c:v>
                </c:pt>
                <c:pt idx="97">
                  <c:v>14.10.21</c:v>
                </c:pt>
                <c:pt idx="98">
                  <c:v>15.10.21</c:v>
                </c:pt>
                <c:pt idx="99">
                  <c:v>16.10.21</c:v>
                </c:pt>
                <c:pt idx="100">
                  <c:v>17.10.21</c:v>
                </c:pt>
                <c:pt idx="101">
                  <c:v>18.10.21</c:v>
                </c:pt>
                <c:pt idx="102">
                  <c:v>19.10.21</c:v>
                </c:pt>
                <c:pt idx="103">
                  <c:v>20.10.21</c:v>
                </c:pt>
                <c:pt idx="104">
                  <c:v>21.10.21</c:v>
                </c:pt>
                <c:pt idx="105">
                  <c:v>22.10.21</c:v>
                </c:pt>
                <c:pt idx="106">
                  <c:v>23.10.21</c:v>
                </c:pt>
                <c:pt idx="107">
                  <c:v>24.10.21</c:v>
                </c:pt>
                <c:pt idx="108">
                  <c:v>25.10.21</c:v>
                </c:pt>
                <c:pt idx="109">
                  <c:v>26.10.21</c:v>
                </c:pt>
                <c:pt idx="110">
                  <c:v>27.10.21</c:v>
                </c:pt>
                <c:pt idx="111">
                  <c:v>28.10.21</c:v>
                </c:pt>
                <c:pt idx="112">
                  <c:v>29.10.21</c:v>
                </c:pt>
                <c:pt idx="113">
                  <c:v>30.10.21</c:v>
                </c:pt>
                <c:pt idx="114">
                  <c:v>31.10.21</c:v>
                </c:pt>
                <c:pt idx="115">
                  <c:v>01.11.21</c:v>
                </c:pt>
                <c:pt idx="116">
                  <c:v>02.11.21</c:v>
                </c:pt>
                <c:pt idx="117">
                  <c:v>03.11.21</c:v>
                </c:pt>
                <c:pt idx="118">
                  <c:v>04.11.21</c:v>
                </c:pt>
                <c:pt idx="119">
                  <c:v>05.11.21</c:v>
                </c:pt>
                <c:pt idx="120">
                  <c:v>06.11.21</c:v>
                </c:pt>
                <c:pt idx="121">
                  <c:v>07.11.21</c:v>
                </c:pt>
                <c:pt idx="122">
                  <c:v>08.11.21</c:v>
                </c:pt>
                <c:pt idx="123">
                  <c:v>09.11.21</c:v>
                </c:pt>
                <c:pt idx="124">
                  <c:v>10.11.21</c:v>
                </c:pt>
                <c:pt idx="125">
                  <c:v>11.11.21</c:v>
                </c:pt>
                <c:pt idx="126">
                  <c:v>12.11.21</c:v>
                </c:pt>
                <c:pt idx="127">
                  <c:v>13.11.21</c:v>
                </c:pt>
                <c:pt idx="128">
                  <c:v>14.11.21</c:v>
                </c:pt>
                <c:pt idx="129">
                  <c:v>15.11.21</c:v>
                </c:pt>
                <c:pt idx="130">
                  <c:v>16.11.21</c:v>
                </c:pt>
                <c:pt idx="131">
                  <c:v>17.11.21</c:v>
                </c:pt>
                <c:pt idx="132">
                  <c:v>18.11.21</c:v>
                </c:pt>
                <c:pt idx="133">
                  <c:v>19.11.21</c:v>
                </c:pt>
                <c:pt idx="134">
                  <c:v>20.11.21</c:v>
                </c:pt>
                <c:pt idx="135">
                  <c:v>21.11.21</c:v>
                </c:pt>
                <c:pt idx="136">
                  <c:v>22.11.21</c:v>
                </c:pt>
                <c:pt idx="137">
                  <c:v>23.11.21</c:v>
                </c:pt>
                <c:pt idx="138">
                  <c:v>24.11.21</c:v>
                </c:pt>
                <c:pt idx="139">
                  <c:v>25.11.21</c:v>
                </c:pt>
                <c:pt idx="140">
                  <c:v>26.11.21</c:v>
                </c:pt>
                <c:pt idx="141">
                  <c:v>27.11.21</c:v>
                </c:pt>
                <c:pt idx="142">
                  <c:v>28.11.21</c:v>
                </c:pt>
                <c:pt idx="143">
                  <c:v>29.11.21</c:v>
                </c:pt>
                <c:pt idx="144">
                  <c:v>30.11.21</c:v>
                </c:pt>
                <c:pt idx="145">
                  <c:v>01.12.21</c:v>
                </c:pt>
                <c:pt idx="146">
                  <c:v>02.12.21</c:v>
                </c:pt>
                <c:pt idx="147">
                  <c:v>03.12.21</c:v>
                </c:pt>
                <c:pt idx="148">
                  <c:v>04.12.21</c:v>
                </c:pt>
                <c:pt idx="149">
                  <c:v>05.12.21</c:v>
                </c:pt>
                <c:pt idx="150">
                  <c:v>06.12.21</c:v>
                </c:pt>
                <c:pt idx="151">
                  <c:v>07.12.21</c:v>
                </c:pt>
                <c:pt idx="152">
                  <c:v>08.12.21</c:v>
                </c:pt>
                <c:pt idx="153">
                  <c:v>09.12.21</c:v>
                </c:pt>
                <c:pt idx="154">
                  <c:v>10.12.21</c:v>
                </c:pt>
                <c:pt idx="155">
                  <c:v>11.12.21</c:v>
                </c:pt>
                <c:pt idx="156">
                  <c:v>12.12.21</c:v>
                </c:pt>
                <c:pt idx="157">
                  <c:v>13.12.21</c:v>
                </c:pt>
                <c:pt idx="158">
                  <c:v>14.12.21</c:v>
                </c:pt>
                <c:pt idx="159">
                  <c:v>15.12.21</c:v>
                </c:pt>
                <c:pt idx="160">
                  <c:v>16.12.21</c:v>
                </c:pt>
                <c:pt idx="161">
                  <c:v>17.12.21</c:v>
                </c:pt>
                <c:pt idx="162">
                  <c:v>18.12.21</c:v>
                </c:pt>
                <c:pt idx="163">
                  <c:v>19.12.21</c:v>
                </c:pt>
                <c:pt idx="164">
                  <c:v>20.12.21</c:v>
                </c:pt>
                <c:pt idx="165">
                  <c:v>21.12.21</c:v>
                </c:pt>
                <c:pt idx="166">
                  <c:v>22.12.21</c:v>
                </c:pt>
                <c:pt idx="167">
                  <c:v>23.12.21</c:v>
                </c:pt>
                <c:pt idx="168">
                  <c:v>24.12.21</c:v>
                </c:pt>
                <c:pt idx="169">
                  <c:v>25.12.21</c:v>
                </c:pt>
                <c:pt idx="170">
                  <c:v>26.12.21</c:v>
                </c:pt>
                <c:pt idx="171">
                  <c:v>27.12.21</c:v>
                </c:pt>
                <c:pt idx="172">
                  <c:v>28.12.21</c:v>
                </c:pt>
                <c:pt idx="173">
                  <c:v>29.12.21</c:v>
                </c:pt>
                <c:pt idx="174">
                  <c:v>30.12.21</c:v>
                </c:pt>
                <c:pt idx="175">
                  <c:v>31.12.21</c:v>
                </c:pt>
                <c:pt idx="176">
                  <c:v>01.01.22</c:v>
                </c:pt>
                <c:pt idx="177">
                  <c:v>02.01.22</c:v>
                </c:pt>
                <c:pt idx="178">
                  <c:v>03.01.22</c:v>
                </c:pt>
                <c:pt idx="179">
                  <c:v>04.01.22</c:v>
                </c:pt>
                <c:pt idx="180">
                  <c:v>05.01.22</c:v>
                </c:pt>
                <c:pt idx="181">
                  <c:v>06.01.22</c:v>
                </c:pt>
                <c:pt idx="182">
                  <c:v>07.01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39</c:v>
                </c:pt>
                <c:pt idx="1">
                  <c:v>38</c:v>
                </c:pt>
                <c:pt idx="2">
                  <c:v>37</c:v>
                </c:pt>
                <c:pt idx="3">
                  <c:v>39</c:v>
                </c:pt>
                <c:pt idx="4">
                  <c:v>39</c:v>
                </c:pt>
                <c:pt idx="5">
                  <c:v>43</c:v>
                </c:pt>
                <c:pt idx="6">
                  <c:v>45</c:v>
                </c:pt>
                <c:pt idx="7">
                  <c:v>49</c:v>
                </c:pt>
                <c:pt idx="8">
                  <c:v>50</c:v>
                </c:pt>
                <c:pt idx="9">
                  <c:v>51</c:v>
                </c:pt>
                <c:pt idx="10">
                  <c:v>54</c:v>
                </c:pt>
                <c:pt idx="11">
                  <c:v>59</c:v>
                </c:pt>
                <c:pt idx="12">
                  <c:v>58</c:v>
                </c:pt>
                <c:pt idx="13">
                  <c:v>57</c:v>
                </c:pt>
                <c:pt idx="14">
                  <c:v>56</c:v>
                </c:pt>
                <c:pt idx="15">
                  <c:v>56</c:v>
                </c:pt>
                <c:pt idx="16">
                  <c:v>57</c:v>
                </c:pt>
                <c:pt idx="17">
                  <c:v>58</c:v>
                </c:pt>
                <c:pt idx="18">
                  <c:v>62</c:v>
                </c:pt>
                <c:pt idx="19">
                  <c:v>59</c:v>
                </c:pt>
                <c:pt idx="20">
                  <c:v>58</c:v>
                </c:pt>
                <c:pt idx="21">
                  <c:v>56</c:v>
                </c:pt>
                <c:pt idx="22">
                  <c:v>56</c:v>
                </c:pt>
                <c:pt idx="23">
                  <c:v>54</c:v>
                </c:pt>
                <c:pt idx="24">
                  <c:v>52</c:v>
                </c:pt>
                <c:pt idx="25">
                  <c:v>54</c:v>
                </c:pt>
                <c:pt idx="26">
                  <c:v>56</c:v>
                </c:pt>
                <c:pt idx="27">
                  <c:v>52</c:v>
                </c:pt>
                <c:pt idx="28">
                  <c:v>53</c:v>
                </c:pt>
                <c:pt idx="29">
                  <c:v>52</c:v>
                </c:pt>
                <c:pt idx="30">
                  <c:v>50</c:v>
                </c:pt>
                <c:pt idx="31">
                  <c:v>53</c:v>
                </c:pt>
                <c:pt idx="32">
                  <c:v>52</c:v>
                </c:pt>
                <c:pt idx="33">
                  <c:v>52</c:v>
                </c:pt>
                <c:pt idx="34">
                  <c:v>51</c:v>
                </c:pt>
                <c:pt idx="35">
                  <c:v>57</c:v>
                </c:pt>
                <c:pt idx="36">
                  <c:v>58</c:v>
                </c:pt>
                <c:pt idx="37">
                  <c:v>58</c:v>
                </c:pt>
                <c:pt idx="38">
                  <c:v>56</c:v>
                </c:pt>
                <c:pt idx="39">
                  <c:v>53</c:v>
                </c:pt>
                <c:pt idx="40">
                  <c:v>52</c:v>
                </c:pt>
                <c:pt idx="41">
                  <c:v>50</c:v>
                </c:pt>
                <c:pt idx="42">
                  <c:v>52</c:v>
                </c:pt>
                <c:pt idx="43">
                  <c:v>53</c:v>
                </c:pt>
                <c:pt idx="44">
                  <c:v>54</c:v>
                </c:pt>
                <c:pt idx="45">
                  <c:v>51</c:v>
                </c:pt>
                <c:pt idx="46">
                  <c:v>52</c:v>
                </c:pt>
                <c:pt idx="47">
                  <c:v>56</c:v>
                </c:pt>
                <c:pt idx="48">
                  <c:v>54</c:v>
                </c:pt>
                <c:pt idx="49">
                  <c:v>52</c:v>
                </c:pt>
                <c:pt idx="50">
                  <c:v>50</c:v>
                </c:pt>
                <c:pt idx="51">
                  <c:v>51</c:v>
                </c:pt>
                <c:pt idx="52">
                  <c:v>49</c:v>
                </c:pt>
                <c:pt idx="53">
                  <c:v>50</c:v>
                </c:pt>
                <c:pt idx="54">
                  <c:v>52</c:v>
                </c:pt>
                <c:pt idx="55">
                  <c:v>56</c:v>
                </c:pt>
                <c:pt idx="56">
                  <c:v>58</c:v>
                </c:pt>
                <c:pt idx="57">
                  <c:v>61</c:v>
                </c:pt>
                <c:pt idx="58">
                  <c:v>60</c:v>
                </c:pt>
                <c:pt idx="59">
                  <c:v>64</c:v>
                </c:pt>
                <c:pt idx="60">
                  <c:v>65</c:v>
                </c:pt>
                <c:pt idx="61">
                  <c:v>62</c:v>
                </c:pt>
                <c:pt idx="62">
                  <c:v>61</c:v>
                </c:pt>
                <c:pt idx="63">
                  <c:v>63</c:v>
                </c:pt>
                <c:pt idx="64">
                  <c:v>62</c:v>
                </c:pt>
                <c:pt idx="65">
                  <c:v>65</c:v>
                </c:pt>
                <c:pt idx="66">
                  <c:v>66</c:v>
                </c:pt>
                <c:pt idx="67">
                  <c:v>66</c:v>
                </c:pt>
                <c:pt idx="68">
                  <c:v>70</c:v>
                </c:pt>
                <c:pt idx="69">
                  <c:v>73</c:v>
                </c:pt>
                <c:pt idx="70">
                  <c:v>71</c:v>
                </c:pt>
                <c:pt idx="71">
                  <c:v>70</c:v>
                </c:pt>
                <c:pt idx="72">
                  <c:v>73</c:v>
                </c:pt>
                <c:pt idx="73">
                  <c:v>74</c:v>
                </c:pt>
                <c:pt idx="74">
                  <c:v>81</c:v>
                </c:pt>
                <c:pt idx="75">
                  <c:v>88</c:v>
                </c:pt>
                <c:pt idx="76">
                  <c:v>90</c:v>
                </c:pt>
                <c:pt idx="77">
                  <c:v>93</c:v>
                </c:pt>
                <c:pt idx="78">
                  <c:v>96</c:v>
                </c:pt>
                <c:pt idx="79">
                  <c:v>95</c:v>
                </c:pt>
                <c:pt idx="80">
                  <c:v>98</c:v>
                </c:pt>
                <c:pt idx="81">
                  <c:v>103</c:v>
                </c:pt>
                <c:pt idx="82">
                  <c:v>104</c:v>
                </c:pt>
                <c:pt idx="83">
                  <c:v>109</c:v>
                </c:pt>
                <c:pt idx="84">
                  <c:v>112</c:v>
                </c:pt>
                <c:pt idx="85">
                  <c:v>114</c:v>
                </c:pt>
                <c:pt idx="86">
                  <c:v>116</c:v>
                </c:pt>
                <c:pt idx="87">
                  <c:v>118</c:v>
                </c:pt>
                <c:pt idx="88">
                  <c:v>120</c:v>
                </c:pt>
                <c:pt idx="89">
                  <c:v>129</c:v>
                </c:pt>
                <c:pt idx="90">
                  <c:v>135</c:v>
                </c:pt>
                <c:pt idx="91">
                  <c:v>140</c:v>
                </c:pt>
                <c:pt idx="92">
                  <c:v>145</c:v>
                </c:pt>
                <c:pt idx="93">
                  <c:v>147</c:v>
                </c:pt>
                <c:pt idx="94">
                  <c:v>156</c:v>
                </c:pt>
                <c:pt idx="95">
                  <c:v>185</c:v>
                </c:pt>
                <c:pt idx="96">
                  <c:v>191</c:v>
                </c:pt>
                <c:pt idx="97">
                  <c:v>199</c:v>
                </c:pt>
                <c:pt idx="98">
                  <c:v>203</c:v>
                </c:pt>
                <c:pt idx="99">
                  <c:v>209</c:v>
                </c:pt>
                <c:pt idx="100">
                  <c:v>213</c:v>
                </c:pt>
                <c:pt idx="101">
                  <c:v>240</c:v>
                </c:pt>
                <c:pt idx="102">
                  <c:v>280</c:v>
                </c:pt>
                <c:pt idx="103">
                  <c:v>317</c:v>
                </c:pt>
                <c:pt idx="104">
                  <c:v>356</c:v>
                </c:pt>
                <c:pt idx="105">
                  <c:v>387</c:v>
                </c:pt>
                <c:pt idx="106">
                  <c:v>410</c:v>
                </c:pt>
                <c:pt idx="107">
                  <c:v>423</c:v>
                </c:pt>
                <c:pt idx="108">
                  <c:v>471</c:v>
                </c:pt>
                <c:pt idx="109">
                  <c:v>525</c:v>
                </c:pt>
                <c:pt idx="110">
                  <c:v>574</c:v>
                </c:pt>
                <c:pt idx="111">
                  <c:v>597</c:v>
                </c:pt>
                <c:pt idx="112">
                  <c:v>662</c:v>
                </c:pt>
                <c:pt idx="113">
                  <c:v>705</c:v>
                </c:pt>
                <c:pt idx="114">
                  <c:v>734</c:v>
                </c:pt>
                <c:pt idx="115">
                  <c:v>807</c:v>
                </c:pt>
                <c:pt idx="116">
                  <c:v>880</c:v>
                </c:pt>
                <c:pt idx="117">
                  <c:v>941</c:v>
                </c:pt>
                <c:pt idx="118">
                  <c:v>995</c:v>
                </c:pt>
                <c:pt idx="119">
                  <c:v>1082</c:v>
                </c:pt>
                <c:pt idx="120">
                  <c:v>1110</c:v>
                </c:pt>
                <c:pt idx="121">
                  <c:v>1112</c:v>
                </c:pt>
                <c:pt idx="122">
                  <c:v>1145</c:v>
                </c:pt>
                <c:pt idx="123">
                  <c:v>1217</c:v>
                </c:pt>
                <c:pt idx="124">
                  <c:v>1293</c:v>
                </c:pt>
                <c:pt idx="125">
                  <c:v>1379</c:v>
                </c:pt>
                <c:pt idx="126">
                  <c:v>1441</c:v>
                </c:pt>
                <c:pt idx="127">
                  <c:v>1489</c:v>
                </c:pt>
                <c:pt idx="128">
                  <c:v>1499</c:v>
                </c:pt>
                <c:pt idx="129">
                  <c:v>1486</c:v>
                </c:pt>
                <c:pt idx="130">
                  <c:v>1558</c:v>
                </c:pt>
                <c:pt idx="131">
                  <c:v>1610</c:v>
                </c:pt>
                <c:pt idx="132">
                  <c:v>1656</c:v>
                </c:pt>
                <c:pt idx="133">
                  <c:v>1787</c:v>
                </c:pt>
                <c:pt idx="134">
                  <c:v>1867</c:v>
                </c:pt>
                <c:pt idx="135">
                  <c:v>1914</c:v>
                </c:pt>
                <c:pt idx="136">
                  <c:v>1948</c:v>
                </c:pt>
                <c:pt idx="137">
                  <c:v>1998</c:v>
                </c:pt>
                <c:pt idx="138">
                  <c:v>2040</c:v>
                </c:pt>
                <c:pt idx="139">
                  <c:v>2157</c:v>
                </c:pt>
                <c:pt idx="140">
                  <c:v>2142</c:v>
                </c:pt>
                <c:pt idx="141">
                  <c:v>2190</c:v>
                </c:pt>
                <c:pt idx="142">
                  <c:v>2212</c:v>
                </c:pt>
                <c:pt idx="143">
                  <c:v>2182</c:v>
                </c:pt>
                <c:pt idx="144">
                  <c:v>2164</c:v>
                </c:pt>
                <c:pt idx="145">
                  <c:v>2252</c:v>
                </c:pt>
                <c:pt idx="146">
                  <c:v>2154</c:v>
                </c:pt>
                <c:pt idx="147">
                  <c:v>2089</c:v>
                </c:pt>
                <c:pt idx="148">
                  <c:v>2092</c:v>
                </c:pt>
                <c:pt idx="149">
                  <c:v>2069</c:v>
                </c:pt>
                <c:pt idx="150">
                  <c:v>1987</c:v>
                </c:pt>
                <c:pt idx="151">
                  <c:v>1945</c:v>
                </c:pt>
                <c:pt idx="152">
                  <c:v>1886</c:v>
                </c:pt>
                <c:pt idx="153">
                  <c:v>1820</c:v>
                </c:pt>
                <c:pt idx="154">
                  <c:v>1753</c:v>
                </c:pt>
                <c:pt idx="155">
                  <c:v>1754</c:v>
                </c:pt>
                <c:pt idx="156">
                  <c:v>1729</c:v>
                </c:pt>
                <c:pt idx="157">
                  <c:v>1607</c:v>
                </c:pt>
                <c:pt idx="158">
                  <c:v>1599</c:v>
                </c:pt>
                <c:pt idx="159">
                  <c:v>1564</c:v>
                </c:pt>
                <c:pt idx="160">
                  <c:v>1500</c:v>
                </c:pt>
                <c:pt idx="161">
                  <c:v>1451</c:v>
                </c:pt>
                <c:pt idx="162">
                  <c:v>1447</c:v>
                </c:pt>
                <c:pt idx="163">
                  <c:v>1416</c:v>
                </c:pt>
                <c:pt idx="164">
                  <c:v>1291</c:v>
                </c:pt>
                <c:pt idx="165">
                  <c:v>1230</c:v>
                </c:pt>
                <c:pt idx="166">
                  <c:v>1160</c:v>
                </c:pt>
                <c:pt idx="167">
                  <c:v>1137</c:v>
                </c:pt>
                <c:pt idx="168">
                  <c:v>1053</c:v>
                </c:pt>
                <c:pt idx="169">
                  <c:v>1017</c:v>
                </c:pt>
                <c:pt idx="170">
                  <c:v>981</c:v>
                </c:pt>
                <c:pt idx="171">
                  <c:v>855</c:v>
                </c:pt>
                <c:pt idx="172">
                  <c:v>851</c:v>
                </c:pt>
                <c:pt idx="173">
                  <c:v>814</c:v>
                </c:pt>
                <c:pt idx="174">
                  <c:v>787</c:v>
                </c:pt>
                <c:pt idx="175">
                  <c:v>773</c:v>
                </c:pt>
                <c:pt idx="176">
                  <c:v>744</c:v>
                </c:pt>
                <c:pt idx="177">
                  <c:v>715</c:v>
                </c:pt>
                <c:pt idx="178">
                  <c:v>681</c:v>
                </c:pt>
                <c:pt idx="182">
                  <c:v>9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4934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0271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544834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95612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481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82046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82370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01494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885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52161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10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12.xml"/><Relationship Id="rId4" Type="http://schemas.openxmlformats.org/officeDocument/2006/relationships/tags" Target="../tags/tag14.xml"/><Relationship Id="rId9" Type="http://schemas.openxmlformats.org/officeDocument/2006/relationships/notesSlide" Target="../notesSlides/notesSlide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14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chart" Target="../charts/chart16.xml"/><Relationship Id="rId4" Type="http://schemas.openxmlformats.org/officeDocument/2006/relationships/tags" Target="../tags/tag32.xml"/><Relationship Id="rId9" Type="http://schemas.openxmlformats.org/officeDocument/2006/relationships/notesSlide" Target="../notesSlides/notesSlide2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3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chart" Target="../charts/chart18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4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chart" Target="../charts/chart19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5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chart" Target="../charts/chart20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5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chart" Target="../charts/char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7256206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9540357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4012405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302576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7. 1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7. 1. 2022</a:t>
            </a:r>
          </a:p>
        </p:txBody>
      </p:sp>
    </p:spTree>
    <p:extLst>
      <p:ext uri="{BB962C8B-B14F-4D97-AF65-F5344CB8AC3E}">
        <p14:creationId xmlns:p14="http://schemas.microsoft.com/office/powerpoint/2010/main" val="32044203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7. 1. 2022</a:t>
            </a:r>
          </a:p>
        </p:txBody>
      </p:sp>
    </p:spTree>
    <p:extLst>
      <p:ext uri="{BB962C8B-B14F-4D97-AF65-F5344CB8AC3E}">
        <p14:creationId xmlns:p14="http://schemas.microsoft.com/office/powerpoint/2010/main" val="30714564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7. 1. 2022</a:t>
            </a:r>
          </a:p>
        </p:txBody>
      </p:sp>
    </p:spTree>
    <p:extLst>
      <p:ext uri="{BB962C8B-B14F-4D97-AF65-F5344CB8AC3E}">
        <p14:creationId xmlns:p14="http://schemas.microsoft.com/office/powerpoint/2010/main" val="3130275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7. 1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4031556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C0E75592-1941-450D-8FAC-F8B9896E32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710775"/>
              </p:ext>
            </p:extLst>
          </p:nvPr>
        </p:nvGraphicFramePr>
        <p:xfrm>
          <a:off x="1943099" y="1600994"/>
          <a:ext cx="9946013" cy="4555950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338911416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58308646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42932036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43244244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60213386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97206346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959129632"/>
                    </a:ext>
                  </a:extLst>
                </a:gridCol>
              </a:tblGrid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74549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3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91246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858683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493594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168937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057011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6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410199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637195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0285963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795740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837317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01488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9945909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D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1466391"/>
                  </a:ext>
                </a:extLst>
              </a:tr>
              <a:tr h="303730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900143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7. 1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6847363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78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 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9 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0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 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 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8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 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 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 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3 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 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 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 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 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 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4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7 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1 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 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4 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7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 (7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8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48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7 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261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43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4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91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13 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70ADE3A-A874-47A9-A6A9-774157887E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2857864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368732021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3926658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41601491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377237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8275238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526092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85130527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04302620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78245989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47635405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054212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6304966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70287272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43198223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52513915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13366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074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00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832134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236164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667222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082129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281878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0348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915609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55435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90637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056828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7. 1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9798305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1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4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3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1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1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1E0DA83-3B13-4311-8A16-E67C273736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4980480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277464329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9564906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481961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028527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11937813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9132332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2010003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5297634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9861971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102073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7866604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6331387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0147107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3870463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03401999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9535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53773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83764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86689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74425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33088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94777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58335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490795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82348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7631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97395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6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908532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7. 1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019277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5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2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5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1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3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5D7E58E-9E3B-459E-9116-5DF3EFA625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4555502"/>
              </p:ext>
            </p:extLst>
          </p:nvPr>
        </p:nvGraphicFramePr>
        <p:xfrm>
          <a:off x="2419350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73509137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24806717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07389356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681901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2184187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6334475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9560473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601805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9940076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587526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13814874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39678702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651888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2570825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51830405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743328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381069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044373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768015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559522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09849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916011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70559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07701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81658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74790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3480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964413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7. 1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921991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25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1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7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7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5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2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4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7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1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7 (4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5 (4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1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7023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5330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9976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92063" y="290737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11115403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*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7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4745385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145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107070DB-7A5B-419B-A663-E01DC064A02B}"/>
              </a:ext>
            </a:extLst>
          </p:cNvPr>
          <p:cNvSpPr txBox="1"/>
          <p:nvPr/>
        </p:nvSpPr>
        <p:spPr>
          <a:xfrm>
            <a:off x="6095202" y="6093400"/>
            <a:ext cx="60967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000" dirty="0"/>
              <a:t>Počty aktuálně pozitivních ZP jsou nadhodnocené z důvodu zpoždění v aktualizaci údajů o negativitě/ vyléčení, které u ZP provádí KHS. Odhadovaný počet pravděpodobně již negativních ZP je 354 celkem (55 lékařů, 138 sester, 161 jiných ZP), odhad vychází z počtu aktuálně pozitivních ZP s datem pozitivity starším než 14 dní.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C812EBEA-69C2-4803-874F-B7F4E542DD9A}"/>
              </a:ext>
            </a:extLst>
          </p:cNvPr>
          <p:cNvSpPr/>
          <p:nvPr/>
        </p:nvSpPr>
        <p:spPr>
          <a:xfrm>
            <a:off x="5926827" y="6111714"/>
            <a:ext cx="21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27633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30146314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2462130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12.–10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12.–17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9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95CFE655-BEE9-4DE2-B980-65136AE915FD}"/>
              </a:ext>
            </a:extLst>
          </p:cNvPr>
          <p:cNvCxnSpPr>
            <a:cxnSpLocks/>
          </p:cNvCxnSpPr>
          <p:nvPr/>
        </p:nvCxnSpPr>
        <p:spPr>
          <a:xfrm flipV="1">
            <a:off x="7023596" y="319854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9D3A5FA6-DF59-4974-AD14-85F21837514F}"/>
              </a:ext>
            </a:extLst>
          </p:cNvPr>
          <p:cNvCxnSpPr>
            <a:cxnSpLocks/>
          </p:cNvCxnSpPr>
          <p:nvPr/>
        </p:nvCxnSpPr>
        <p:spPr>
          <a:xfrm>
            <a:off x="8934450" y="3198541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13994501-0525-49C1-AEA0-947A2999B5EF}"/>
              </a:ext>
            </a:extLst>
          </p:cNvPr>
          <p:cNvCxnSpPr>
            <a:cxnSpLocks/>
          </p:cNvCxnSpPr>
          <p:nvPr/>
        </p:nvCxnSpPr>
        <p:spPr>
          <a:xfrm>
            <a:off x="9559650" y="3245685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D9A912EE-5CEB-4C93-B212-0DC7DE6CD249}"/>
              </a:ext>
            </a:extLst>
          </p:cNvPr>
          <p:cNvCxnSpPr>
            <a:cxnSpLocks/>
          </p:cNvCxnSpPr>
          <p:nvPr/>
        </p:nvCxnSpPr>
        <p:spPr>
          <a:xfrm>
            <a:off x="10839450" y="4476750"/>
            <a:ext cx="9906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58122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925641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804359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53777285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66358834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tovo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12.–10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12.–17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8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5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9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24113551-2D04-4A4B-8009-C333A2A04A25}"/>
              </a:ext>
            </a:extLst>
          </p:cNvPr>
          <p:cNvCxnSpPr>
            <a:cxnSpLocks/>
          </p:cNvCxnSpPr>
          <p:nvPr/>
        </p:nvCxnSpPr>
        <p:spPr>
          <a:xfrm flipV="1">
            <a:off x="7175996" y="321759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B41E6EBA-C537-4093-931A-C085BB04E539}"/>
              </a:ext>
            </a:extLst>
          </p:cNvPr>
          <p:cNvCxnSpPr>
            <a:cxnSpLocks/>
          </p:cNvCxnSpPr>
          <p:nvPr/>
        </p:nvCxnSpPr>
        <p:spPr>
          <a:xfrm>
            <a:off x="9086850" y="3217591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DE0B8F8-3BE5-4F78-832A-CEAD9BC1E5E0}"/>
              </a:ext>
            </a:extLst>
          </p:cNvPr>
          <p:cNvCxnSpPr>
            <a:cxnSpLocks/>
          </p:cNvCxnSpPr>
          <p:nvPr/>
        </p:nvCxnSpPr>
        <p:spPr>
          <a:xfrm>
            <a:off x="9712050" y="3264735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757300E5-B039-44B1-BF16-1CAC91582BF0}"/>
              </a:ext>
            </a:extLst>
          </p:cNvPr>
          <p:cNvCxnSpPr>
            <a:cxnSpLocks/>
          </p:cNvCxnSpPr>
          <p:nvPr/>
        </p:nvCxnSpPr>
        <p:spPr>
          <a:xfrm>
            <a:off x="10991850" y="4495800"/>
            <a:ext cx="9906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300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B3C062DB-BD3A-4CD3-B9B8-A0915D61AE1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539258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1031129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16728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20485676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12.–10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12.–17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9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2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B83DEB3B-A7A3-4A3C-8994-AE5F90CC57C3}"/>
              </a:ext>
            </a:extLst>
          </p:cNvPr>
          <p:cNvCxnSpPr>
            <a:cxnSpLocks/>
          </p:cNvCxnSpPr>
          <p:nvPr/>
        </p:nvCxnSpPr>
        <p:spPr>
          <a:xfrm flipV="1">
            <a:off x="7290296" y="319854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1B6E9D37-8CFB-4C3F-8F8F-7FEC4A15E767}"/>
              </a:ext>
            </a:extLst>
          </p:cNvPr>
          <p:cNvCxnSpPr>
            <a:cxnSpLocks/>
          </p:cNvCxnSpPr>
          <p:nvPr/>
        </p:nvCxnSpPr>
        <p:spPr>
          <a:xfrm>
            <a:off x="9201150" y="3198541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530DE917-AD4E-4E4C-8BBF-157D229D4291}"/>
              </a:ext>
            </a:extLst>
          </p:cNvPr>
          <p:cNvCxnSpPr>
            <a:cxnSpLocks/>
          </p:cNvCxnSpPr>
          <p:nvPr/>
        </p:nvCxnSpPr>
        <p:spPr>
          <a:xfrm>
            <a:off x="9826350" y="3245685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86860B7-D2F4-479E-9A94-ABDA987164D8}"/>
              </a:ext>
            </a:extLst>
          </p:cNvPr>
          <p:cNvCxnSpPr>
            <a:cxnSpLocks/>
          </p:cNvCxnSpPr>
          <p:nvPr/>
        </p:nvCxnSpPr>
        <p:spPr>
          <a:xfrm>
            <a:off x="11106150" y="4476750"/>
            <a:ext cx="9906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17053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FF1094F5-713C-4109-967D-B817CD76189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604717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</p:spTree>
    <p:extLst>
      <p:ext uri="{BB962C8B-B14F-4D97-AF65-F5344CB8AC3E}">
        <p14:creationId xmlns:p14="http://schemas.microsoft.com/office/powerpoint/2010/main" val="2939239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3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4 % (jen ZP skutečně aktivní ve zdravotnictví). Roste i proočkovanost posilující dávkou. Z pracovníků, kteří na ni mají (časově) nárok, ji dosud absolvovalo 83,1% lékařů, 71% sester a 66,4% ostatních NLZP (celkem 72,2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5497691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22384284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12.–10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12.–17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12.–24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12.–31. 1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1.–7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1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26A89686-A40B-4DE3-905D-2AD2B7671B2E}"/>
              </a:ext>
            </a:extLst>
          </p:cNvPr>
          <p:cNvCxnSpPr>
            <a:cxnSpLocks/>
          </p:cNvCxnSpPr>
          <p:nvPr/>
        </p:nvCxnSpPr>
        <p:spPr>
          <a:xfrm flipV="1">
            <a:off x="7185521" y="3198541"/>
            <a:ext cx="1758454" cy="1782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D8FC18B8-6CA8-42C9-B887-0C44B8A1E933}"/>
              </a:ext>
            </a:extLst>
          </p:cNvPr>
          <p:cNvCxnSpPr>
            <a:cxnSpLocks/>
          </p:cNvCxnSpPr>
          <p:nvPr/>
        </p:nvCxnSpPr>
        <p:spPr>
          <a:xfrm>
            <a:off x="9096375" y="3198541"/>
            <a:ext cx="495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6972B44E-1A80-4CEF-8DDE-70C3CB50EFE7}"/>
              </a:ext>
            </a:extLst>
          </p:cNvPr>
          <p:cNvCxnSpPr>
            <a:cxnSpLocks/>
          </p:cNvCxnSpPr>
          <p:nvPr/>
        </p:nvCxnSpPr>
        <p:spPr>
          <a:xfrm>
            <a:off x="9721575" y="3245685"/>
            <a:ext cx="1143913" cy="1231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F32817BB-CBE1-4BEF-BBCD-2893836ACD1B}"/>
              </a:ext>
            </a:extLst>
          </p:cNvPr>
          <p:cNvCxnSpPr>
            <a:cxnSpLocks/>
          </p:cNvCxnSpPr>
          <p:nvPr/>
        </p:nvCxnSpPr>
        <p:spPr>
          <a:xfrm>
            <a:off x="11001375" y="4476750"/>
            <a:ext cx="9906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27597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98436C7-55CE-4508-9AEE-1755674D2CD6}"/>
              </a:ext>
            </a:extLst>
          </p:cNvPr>
          <p:cNvGraphicFramePr>
            <a:graphicFrameLocks noGrp="1"/>
          </p:cNvGraphicFramePr>
          <p:nvPr/>
        </p:nvGraphicFramePr>
        <p:xfrm>
          <a:off x="2343149" y="2272506"/>
          <a:ext cx="9275460" cy="3609510"/>
        </p:xfrm>
        <a:graphic>
          <a:graphicData uri="http://schemas.openxmlformats.org/drawingml/2006/table">
            <a:tbl>
              <a:tblPr/>
              <a:tblGrid>
                <a:gridCol w="772955">
                  <a:extLst>
                    <a:ext uri="{9D8B030D-6E8A-4147-A177-3AD203B41FA5}">
                      <a16:colId xmlns:a16="http://schemas.microsoft.com/office/drawing/2014/main" val="859726756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159779693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948121518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4285497169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78624865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326869027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685849592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781233125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2624498861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3237777845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951173052"/>
                    </a:ext>
                  </a:extLst>
                </a:gridCol>
                <a:gridCol w="772955">
                  <a:extLst>
                    <a:ext uri="{9D8B030D-6E8A-4147-A177-3AD203B41FA5}">
                      <a16:colId xmlns:a16="http://schemas.microsoft.com/office/drawing/2014/main" val="1536644688"/>
                    </a:ext>
                  </a:extLst>
                </a:gridCol>
              </a:tblGrid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2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1265858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5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8774914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407396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7607572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159605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6796605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277115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5820743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F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828842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269455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A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9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5743862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3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001873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9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474280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688734"/>
                  </a:ext>
                </a:extLst>
              </a:tr>
              <a:tr h="240634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6281264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7. 1. 2022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B34EF66-6343-4598-8687-24B9E2771ECD}"/>
              </a:ext>
            </a:extLst>
          </p:cNvPr>
          <p:cNvGraphicFramePr>
            <a:graphicFrameLocks noGrp="1"/>
          </p:cNvGraphicFramePr>
          <p:nvPr/>
        </p:nvGraphicFramePr>
        <p:xfrm>
          <a:off x="3777712" y="1996281"/>
          <a:ext cx="7357456" cy="3996645"/>
        </p:xfrm>
        <a:graphic>
          <a:graphicData uri="http://schemas.openxmlformats.org/drawingml/2006/table">
            <a:tbl>
              <a:tblPr/>
              <a:tblGrid>
                <a:gridCol w="1839364">
                  <a:extLst>
                    <a:ext uri="{9D8B030D-6E8A-4147-A177-3AD203B41FA5}">
                      <a16:colId xmlns:a16="http://schemas.microsoft.com/office/drawing/2014/main" val="2105043331"/>
                    </a:ext>
                  </a:extLst>
                </a:gridCol>
                <a:gridCol w="1839364">
                  <a:extLst>
                    <a:ext uri="{9D8B030D-6E8A-4147-A177-3AD203B41FA5}">
                      <a16:colId xmlns:a16="http://schemas.microsoft.com/office/drawing/2014/main" val="1972521367"/>
                    </a:ext>
                  </a:extLst>
                </a:gridCol>
                <a:gridCol w="1839364">
                  <a:extLst>
                    <a:ext uri="{9D8B030D-6E8A-4147-A177-3AD203B41FA5}">
                      <a16:colId xmlns:a16="http://schemas.microsoft.com/office/drawing/2014/main" val="3378971645"/>
                    </a:ext>
                  </a:extLst>
                </a:gridCol>
                <a:gridCol w="1839364">
                  <a:extLst>
                    <a:ext uri="{9D8B030D-6E8A-4147-A177-3AD203B41FA5}">
                      <a16:colId xmlns:a16="http://schemas.microsoft.com/office/drawing/2014/main" val="4048924049"/>
                    </a:ext>
                  </a:extLst>
                </a:gridCol>
              </a:tblGrid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02089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705379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81517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25621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151997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006481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342107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09622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81368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00000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343649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51073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625413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61212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4492784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28 / 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52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6 / -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 (106 / 6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1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7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6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(34 / 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4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6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6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6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6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6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6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8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9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3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4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0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4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7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4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9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5 / 4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9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3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3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6 / 3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8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5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2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5 / 1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9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9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9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27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1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8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1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6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1 / 6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3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0 / 9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(85 / 15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 (196 / 19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134 / 1 / 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4 (415 / 35 / 3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1. 1. – 7. 1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9F4AC683-8737-42B2-B20A-B68F0E09747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466233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060071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lékař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262595" y="1110693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DCB03B0D-B5AE-4C94-AA9C-80A9AFAB3A8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85725116"/>
              </p:ext>
            </p:extLst>
          </p:nvPr>
        </p:nvGraphicFramePr>
        <p:xfrm>
          <a:off x="10040354" y="688338"/>
          <a:ext cx="2087718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87718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CAC31A7-C4E4-4CB9-A28C-F3CA0F6BCD53}"/>
              </a:ext>
            </a:extLst>
          </p:cNvPr>
          <p:cNvGrpSpPr/>
          <p:nvPr/>
        </p:nvGrpSpPr>
        <p:grpSpPr>
          <a:xfrm>
            <a:off x="9538838" y="1327592"/>
            <a:ext cx="501515" cy="1254265"/>
            <a:chOff x="8290713" y="1759987"/>
            <a:chExt cx="501515" cy="1250887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FD1305BD-CC1F-4325-B17E-E074F40F83EA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DDBFA49-C2FE-4AFF-B76D-8EB31D6A128F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8129E1E-BF1C-472F-8CC0-5BD8B817DC29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257657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5">
            <a:extLst>
              <a:ext uri="{FF2B5EF4-FFF2-40B4-BE49-F238E27FC236}">
                <a16:creationId xmlns:a16="http://schemas.microsoft.com/office/drawing/2014/main" id="{28E7AE82-24A9-41BE-B694-86DAF8F51CA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576917"/>
              </p:ext>
            </p:extLst>
          </p:nvPr>
        </p:nvGraphicFramePr>
        <p:xfrm>
          <a:off x="674256" y="805418"/>
          <a:ext cx="11145281" cy="3982614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3.5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5.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3.1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8.0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1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6.3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5.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2.4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9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0.5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.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lékaři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626914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kařů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4E5136DD-EA08-44B4-9244-D47999FE566C}"/>
              </a:ext>
            </a:extLst>
          </p:cNvPr>
          <p:cNvSpPr txBox="1"/>
          <p:nvPr/>
        </p:nvSpPr>
        <p:spPr>
          <a:xfrm>
            <a:off x="674256" y="4860403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B5B0BB0-5406-461D-A320-1D46AFD62DAA}"/>
              </a:ext>
            </a:extLst>
          </p:cNvPr>
          <p:cNvSpPr txBox="1"/>
          <p:nvPr/>
        </p:nvSpPr>
        <p:spPr>
          <a:xfrm>
            <a:off x="262533" y="5168180"/>
            <a:ext cx="117652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994600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691878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sester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64955" y="121546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try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C178D285-A32D-4871-A862-BC61198D872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38861950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CACBBA8F-BBEA-41AD-B21B-BD7C38F5B7F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29153332"/>
              </p:ext>
            </p:extLst>
          </p:nvPr>
        </p:nvGraphicFramePr>
        <p:xfrm>
          <a:off x="984511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872AF8AF-6F56-4654-870F-CC97618FC514}"/>
              </a:ext>
            </a:extLst>
          </p:cNvPr>
          <p:cNvGrpSpPr/>
          <p:nvPr/>
        </p:nvGrpSpPr>
        <p:grpSpPr>
          <a:xfrm>
            <a:off x="934360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B83C382-2FF8-46A5-B7B1-F5A2112B8FAF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ABE03C28-DF98-4D7D-A364-9A2532B5B629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5577C716-2DF1-4C4D-A449-470CCD1CF044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8480513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sestr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350326" y="56130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sester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4D16114-8A1C-47F6-83C5-8DA746CAC7CE}"/>
              </a:ext>
            </a:extLst>
          </p:cNvPr>
          <p:cNvSpPr txBox="1"/>
          <p:nvPr/>
        </p:nvSpPr>
        <p:spPr>
          <a:xfrm>
            <a:off x="262533" y="5170944"/>
            <a:ext cx="117652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DBDE52E0-8E30-4B1B-A76C-0ABFEF8BBF6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7110027"/>
              </p:ext>
            </p:extLst>
          </p:nvPr>
        </p:nvGraphicFramePr>
        <p:xfrm>
          <a:off x="674256" y="805418"/>
          <a:ext cx="11145281" cy="3982614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9.4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9.7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4.1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9.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5.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4.7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6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5.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2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9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0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4.4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5" name="TextBox 6">
            <a:extLst>
              <a:ext uri="{FF2B5EF4-FFF2-40B4-BE49-F238E27FC236}">
                <a16:creationId xmlns:a16="http://schemas.microsoft.com/office/drawing/2014/main" id="{DE4A7D31-ECFC-4E0A-8E3B-1299FAD04865}"/>
              </a:ext>
            </a:extLst>
          </p:cNvPr>
          <p:cNvSpPr txBox="1"/>
          <p:nvPr/>
        </p:nvSpPr>
        <p:spPr>
          <a:xfrm>
            <a:off x="674256" y="4860403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54641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232925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: populace ostatních ZP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444630" y="127261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ZP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BCA7FE2D-9A22-4E27-8AAD-76AB5CBA288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30591150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F64D008-F028-4889-A8FF-23078BA63F9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83066942"/>
              </p:ext>
            </p:ext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D5AA6126-8EEA-4823-8FCD-F259CFEF37F9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D889D77-74E3-4CE5-80F3-04C4B29F334B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0C53E4B-0409-431F-98B7-4CEE86F1584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E58D57F3-8815-4584-AB1E-6AEFFDDE0EDF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415031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F5669648-2D21-4633-9BDF-C8D1493F629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7759445"/>
              </p:ext>
            </p:extLst>
          </p:nvPr>
        </p:nvGraphicFramePr>
        <p:xfrm>
          <a:off x="674256" y="805418"/>
          <a:ext cx="11145281" cy="3982614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3.1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1.6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4.6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6.0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6.6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5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13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9.3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9.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7.2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.5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ostatní ZP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479634" y="673357"/>
            <a:ext cx="43325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ostatních ZP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C4C7860-74B9-47D2-87FF-FCD709F5F14C}"/>
              </a:ext>
            </a:extLst>
          </p:cNvPr>
          <p:cNvSpPr txBox="1"/>
          <p:nvPr/>
        </p:nvSpPr>
        <p:spPr>
          <a:xfrm>
            <a:off x="262533" y="5240236"/>
            <a:ext cx="117652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3352018E-4B8D-4BC1-8111-7070241D5BB1}"/>
              </a:ext>
            </a:extLst>
          </p:cNvPr>
          <p:cNvSpPr txBox="1"/>
          <p:nvPr/>
        </p:nvSpPr>
        <p:spPr>
          <a:xfrm>
            <a:off x="674256" y="4860403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0053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7056150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7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 5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3 5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7. 1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A0B88B6-A122-42D4-8249-DE000D8A7E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888805" y="1376200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C0D3B3-E868-48ED-8B20-E9634620371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9797391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5D422DF-F902-4FEB-95E0-74A260757A7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06339829"/>
              </p:ext>
            </p:ext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7CE6062-A746-4B16-BD2A-949B93077515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7563C-7EBE-4F25-BEB6-D430463D642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8167A6-4279-4A9B-B47B-88A5FD918B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FAA41837-EA61-4D95-BFBF-CF1F1DFE6706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9477340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/>
        </p:nvSpPr>
        <p:spPr>
          <a:xfrm>
            <a:off x="3535052" y="77112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07B7F61-2FDD-429A-A54E-2F0F9482D1BE}"/>
              </a:ext>
            </a:extLst>
          </p:cNvPr>
          <p:cNvSpPr txBox="1"/>
          <p:nvPr/>
        </p:nvSpPr>
        <p:spPr>
          <a:xfrm>
            <a:off x="262533" y="5249581"/>
            <a:ext cx="117652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EE7F0968-1D74-454A-B8F1-2CA82A377390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597326"/>
              </p:ext>
            </p:extLst>
          </p:nvPr>
        </p:nvGraphicFramePr>
        <p:xfrm>
          <a:off x="674256" y="805418"/>
          <a:ext cx="11145281" cy="3982614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0.8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9.3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2.4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5.0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0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8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97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4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5.2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3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6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3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</a:tbl>
          </a:graphicData>
        </a:graphic>
      </p:graphicFrame>
      <p:sp>
        <p:nvSpPr>
          <p:cNvPr id="15" name="TextBox 6">
            <a:extLst>
              <a:ext uri="{FF2B5EF4-FFF2-40B4-BE49-F238E27FC236}">
                <a16:creationId xmlns:a16="http://schemas.microsoft.com/office/drawing/2014/main" id="{3EDE584E-BB60-4C91-9FF4-DB13B13336BC}"/>
              </a:ext>
            </a:extLst>
          </p:cNvPr>
          <p:cNvSpPr txBox="1"/>
          <p:nvPr/>
        </p:nvSpPr>
        <p:spPr>
          <a:xfrm>
            <a:off x="674256" y="4860403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525347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1040323" y="3275112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7. 1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862072"/>
              </p:ext>
            </p:ext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5229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7. 1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1061894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8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7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8 6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0427786"/>
              </p:ext>
            </p:extLst>
          </p:nvPr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8664941"/>
              </p:ext>
            </p:extLst>
          </p:nvPr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 5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7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 5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7. 1. 2022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období od 1.9.2021 do současnosti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řeočkování posilující dávkou je možné pro osoby, které mají nejméně 6 měsíců (v této analýze 182 dnů) po aplikaci ukončovací (druhé) dávk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0506799"/>
              </p:ext>
            </p:extLst>
          </p:nvPr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5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7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5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7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 5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 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2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9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9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3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4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7. 1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507574"/>
              </p:ext>
            </p:extLst>
          </p:nvPr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21 (88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939 (68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17 (18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6 (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56 (9,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891 (83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331 (5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563 (30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7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45 (7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60 (9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726 (8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434 (47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443 (32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9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62 (7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00 (11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52 (79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72 (4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46 (31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2 (7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0 (13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 (7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9 (42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7 (36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(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8 (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 (10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61 (81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44 (4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77 (34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4 (8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1 (10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3 (86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8 (59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8 (2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 (5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 (8,3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74 (76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3 (4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6 (32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3 (9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0 (14,4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97 (82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06 (49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1 (3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5 (7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0 (10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16 (81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89 (47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39 (33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 (0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4 (7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7 (11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8 638 (83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4 704 (53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1 823 (28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 111 (0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 523 (6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 916 (10,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7. 1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8770918"/>
              </p:ext>
            </p:extLst>
          </p:nvPr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086137"/>
              </p:ext>
            </p:extLst>
          </p:nvPr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471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95</TotalTime>
  <Words>10457</Words>
  <Application>Microsoft Office PowerPoint</Application>
  <PresentationFormat>Širokoúhlá obrazovka</PresentationFormat>
  <Paragraphs>2301</Paragraphs>
  <Slides>44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44</vt:i4>
      </vt:variant>
    </vt:vector>
  </HeadingPairs>
  <TitlesOfParts>
    <vt:vector size="51" baseType="lpstr">
      <vt:lpstr>Calibri</vt:lpstr>
      <vt:lpstr>Calibri Light</vt:lpstr>
      <vt:lpstr>Arial</vt:lpstr>
      <vt:lpstr>Motiv Office</vt:lpstr>
      <vt:lpstr>3_Motiv Office</vt:lpstr>
      <vt:lpstr>1_Motiv Office</vt:lpstr>
      <vt:lpstr>2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1/2022</vt:lpstr>
      <vt:lpstr>Přehled povolání u COVID-19 pozitivních ostatních zdravotnických pracovníků za období 10/2021 – 01/2022</vt:lpstr>
      <vt:lpstr>Přehled povolání u COVID-19 pozitivních ostatních zdravotnických pracovníků za období 01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lékařů</vt:lpstr>
      <vt:lpstr>Prezentace aplikace PowerPoint</vt:lpstr>
      <vt:lpstr>Počet nových případů COVID-19 na 100 tis. dané kategorie v populaci sester</vt:lpstr>
      <vt:lpstr>Prezentace aplikace PowerPoint</vt:lpstr>
      <vt:lpstr>Počet nových případů COVID-19 na 100 tis. dané kategorie: populace ostatních ZP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837</cp:revision>
  <dcterms:created xsi:type="dcterms:W3CDTF">2020-11-11T17:36:28Z</dcterms:created>
  <dcterms:modified xsi:type="dcterms:W3CDTF">2022-01-09T17:45:59Z</dcterms:modified>
</cp:coreProperties>
</file>